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5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7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8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9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omments/modernComment_7FFFFFD6_2FC1BFE9.xml" ContentType="application/vnd.ms-powerpoint.comments+xml"/>
  <Override PartName="/ppt/tags/tag48.xml" ContentType="application/vnd.openxmlformats-officedocument.presentationml.tags+xml"/>
  <Override PartName="/ppt/comments/modernComment_101_18C4DE97.xml" ContentType="application/vnd.ms-powerpoint.comment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FFFFB2_349E04A4.xml" ContentType="application/vnd.ms-powerpoint.comments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12" r:id="rId3"/>
    <p:sldMasterId id="2147483750" r:id="rId4"/>
    <p:sldMasterId id="2147483790" r:id="rId5"/>
    <p:sldMasterId id="2147483828" r:id="rId6"/>
    <p:sldMasterId id="2147483866" r:id="rId7"/>
    <p:sldMasterId id="2147483904" r:id="rId8"/>
  </p:sldMasterIdLst>
  <p:notesMasterIdLst>
    <p:notesMasterId r:id="rId23"/>
  </p:notesMasterIdLst>
  <p:sldIdLst>
    <p:sldId id="2147483609" r:id="rId9"/>
    <p:sldId id="2147475078" r:id="rId10"/>
    <p:sldId id="2147483603" r:id="rId11"/>
    <p:sldId id="2147483604" r:id="rId12"/>
    <p:sldId id="2147483599" r:id="rId13"/>
    <p:sldId id="2147483605" r:id="rId14"/>
    <p:sldId id="2147483606" r:id="rId15"/>
    <p:sldId id="2147483613" r:id="rId16"/>
    <p:sldId id="2147483608" r:id="rId17"/>
    <p:sldId id="257" r:id="rId18"/>
    <p:sldId id="2147483611" r:id="rId19"/>
    <p:sldId id="2147483570" r:id="rId20"/>
    <p:sldId id="2147483593" r:id="rId21"/>
    <p:sldId id="2147483612" r:id="rId22"/>
  </p:sldIdLst>
  <p:sldSz cx="12192000" cy="6858000"/>
  <p:notesSz cx="6858000" cy="9144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18691C5-916E-7260-DF1D-E683B40B9E0F}" name="Engels Kate" initials="KE" userId="S::kate.engels@telenetgroup.be::bf6def24-ec61-433d-95aa-785e14eb5ae6" providerId="AD"/>
  <p188:author id="{DDD854D7-E479-91AE-92F1-DFBE00EB7093}" name="Boone Bart" initials="BB" userId="S::bart.boone@telenetgroup.be::6bb6c9e2-0a7d-4014-b71b-2206f38c30e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3B02E4-9809-4590-ACD8-202C36B0F60A}" v="58" dt="2024-11-28T06:58:37.1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0" autoAdjust="0"/>
    <p:restoredTop sz="90972" autoAdjust="0"/>
  </p:normalViewPr>
  <p:slideViewPr>
    <p:cSldViewPr snapToGrid="0">
      <p:cViewPr varScale="1">
        <p:scale>
          <a:sx n="145" d="100"/>
          <a:sy n="145" d="100"/>
        </p:scale>
        <p:origin x="3036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bleStyles" Target="tableStyles.xml"/></Relationships>
</file>

<file path=ppt/comments/modernComment_101_18C4DE9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E6508A0-0731-9547-93B1-7AA10488AC42}" authorId="{DDD854D7-E479-91AE-92F1-DFBE00EB7093}" created="2024-11-27T13:45:00.543">
    <pc:sldMkLst xmlns:pc="http://schemas.microsoft.com/office/powerpoint/2013/main/command">
      <pc:docMk/>
      <pc:sldMk cId="415555223" sldId="257"/>
    </pc:sldMkLst>
    <p188:replyLst>
      <p188:reply id="{F7DBAAB2-2CE1-4863-A97D-E48BCD279061}" authorId="{718691C5-916E-7260-DF1D-E683B40B9E0F}" created="2024-11-27T14:49:34.407">
        <p188:txBody>
          <a:bodyPr/>
          <a:lstStyle/>
          <a:p>
            <a:r>
              <a:rPr lang="en-GB"/>
              <a:t>It’s something of course the audience wants to understand “how” we approached it - so would keep it.</a:t>
            </a:r>
          </a:p>
        </p188:txBody>
      </p188:reply>
    </p188:replyLst>
    <p188:txBody>
      <a:bodyPr/>
      <a:lstStyle/>
      <a:p>
        <a:r>
          <a:t>Do we want to share this info with competition?</a:t>
        </a:r>
      </a:p>
    </p188:txBody>
  </p188:cm>
</p188:cmLst>
</file>

<file path=ppt/comments/modernComment_7FFFFFB2_349E04A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FC3412B-656B-2D4C-A50B-273F86EBBE19}" authorId="{DDD854D7-E479-91AE-92F1-DFBE00EB7093}" status="resolved" created="2024-11-27T13:45:57.856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882771108" sldId="2147483570"/>
      <ac:grpSpMk id="47" creationId="{C3A379EF-E52B-8B7F-FC42-BBB33340B06C}"/>
    </ac:deMkLst>
    <p188:replyLst>
      <p188:reply id="{6400EC5A-DD22-48B3-809F-DE433A6CFEC1}" authorId="{718691C5-916E-7260-DF1D-E683B40B9E0F}" created="2024-11-27T14:50:54.328">
        <p188:txBody>
          <a:bodyPr/>
          <a:lstStyle/>
          <a:p>
            <a:r>
              <a:rPr lang="en-GB"/>
              <a:t>OK; removed ☺️</a:t>
            </a:r>
          </a:p>
        </p188:txBody>
      </p188:reply>
    </p188:replyLst>
    <p188:txBody>
      <a:bodyPr/>
      <a:lstStyle/>
      <a:p>
        <a:r>
          <a:t>Would leave out but just mention in voice over</a:t>
        </a:r>
      </a:p>
    </p188:txBody>
  </p188:cm>
</p188:cmLst>
</file>

<file path=ppt/comments/modernComment_7FFFFFD6_2FC1BFE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E4CEC05-50C7-3748-87F9-C56B63A418F2}" authorId="{DDD854D7-E479-91AE-92F1-DFBE00EB7093}" status="resolved" created="2024-11-27T13:43:55.367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801226729" sldId="2147483606"/>
      <ac:spMk id="2" creationId="{3CD4CEA2-F2A7-45AB-E6A6-156A10B61224}"/>
      <ac:txMk cp="3" len="7">
        <ac:context len="18" hash="2251862022"/>
      </ac:txMk>
    </ac:txMkLst>
    <p188:pos x="3703623" y="798512"/>
    <p188:replyLst>
      <p188:reply id="{F5A91893-F713-4968-A9EC-C6E4A701804A}" authorId="{718691C5-916E-7260-DF1D-E683B40B9E0F}" created="2024-11-27T14:45:25.668">
        <p188:txBody>
          <a:bodyPr/>
          <a:lstStyle/>
          <a:p>
            <a:r>
              <a:rPr lang="en-GB"/>
              <a:t>Done</a:t>
            </a:r>
          </a:p>
        </p188:txBody>
      </p188:reply>
    </p188:replyLst>
    <p188:txBody>
      <a:bodyPr/>
      <a:lstStyle/>
      <a:p>
        <a:r>
          <a:t>Do we talk about “Telenet” as a company or brand? IF company =&gt; “Telenet group”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0BF8C5-CFB6-4C8F-9212-8383A7A09DC0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E963A9-DE65-47F5-8C67-C56FBC79FB7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4217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C857D7-E791-4228-827E-DCD4D0A81711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7653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C857D7-E791-4228-827E-DCD4D0A81711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2218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D6BF4E-7B1C-4F46-867B-38744942A26C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0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C857D7-E791-4228-827E-DCD4D0A81711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6784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6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jpeg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jpe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jpeg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7.xml"/><Relationship Id="rId7" Type="http://schemas.openxmlformats.org/officeDocument/2006/relationships/image" Target="../media/image16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oleObject" Target="../embeddings/oleObject6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jpe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1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jpe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BB485-E852-9E92-064A-CA95EADCC8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0EFE38-7C18-5BCA-DCCB-88E5210919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8787DF-C5B5-4150-95C1-CA98CF1F0F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1452FC-5185-967B-6CCF-D5A740AEC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59E6D6-FBC1-ECFF-0BB7-C3ACC05E1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1437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762C6B-97D0-F342-A659-84708BB56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CB059B9-4628-3280-B0D5-DB45D58D82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DC31F6-1014-3ED2-A137-7DA1F2B58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DC4F09-4A56-DDF2-E242-B42F68DC1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23A5FD-2DFA-53C5-9480-71C990254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55682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11844AA-EDA4-4F07-BF55-0CA48772EEC7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8835549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6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65107038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11532930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8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F6B220DA-58A2-4651-AAC1-F0108702F69E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5253463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6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9522248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38705809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8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4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735187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837128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651369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288430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9E1575-B007-C29B-8E98-3B55D682B8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68622ED-D235-0FB7-58C3-AD110EFC525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2E7E09-F0B0-0816-D5E7-1E468426D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D0BB2-80BC-9121-9D79-DBC59121F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BA6F32-0603-B188-B34D-93ED9DD8B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665443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5980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45973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7348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104715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62013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2440979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964896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622892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199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581076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/>
        </p:nvSpPr>
        <p:spPr>
          <a:xfrm>
            <a:off x="8962500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0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6442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5235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1844AA-EDA4-4F07-BF55-0CA48772EEC7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123636925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7011912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539288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880455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6714558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8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42619826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3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846632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/>
        </p:nvSpPr>
        <p:spPr>
          <a:xfrm>
            <a:off x="378435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443353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/>
        </p:nvSpPr>
        <p:spPr>
          <a:xfrm>
            <a:off x="373201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553243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080824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8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368293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6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7380911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38324928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8202967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/>
        </p:nvSpPr>
        <p:spPr>
          <a:xfrm>
            <a:off x="753600" y="757800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6830252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110558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27887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304398203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46234350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1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8E8C37-0E24-449F-93CC-425F329E49BF}"/>
              </a:ext>
            </a:extLst>
          </p:cNvPr>
          <p:cNvSpPr/>
          <p:nvPr/>
        </p:nvSpPr>
        <p:spPr>
          <a:xfrm rot="16200000">
            <a:off x="8876027" y="3096197"/>
            <a:ext cx="6155182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80379846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98001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6170344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</p:spTree>
    <p:extLst>
      <p:ext uri="{BB962C8B-B14F-4D97-AF65-F5344CB8AC3E}">
        <p14:creationId xmlns:p14="http://schemas.microsoft.com/office/powerpoint/2010/main" val="25620570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50770716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6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857903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90013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8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79124747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6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1634170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315800410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8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4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9706746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7624425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2605340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7363890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564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8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94897997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61923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47957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620031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85886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001240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2376755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6336727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199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8943071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 userDrawn="1"/>
        </p:nvSpPr>
        <p:spPr>
          <a:xfrm>
            <a:off x="8962500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 userDrawn="1"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0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6442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6758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886887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6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136584449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412319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8548154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97928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8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374881900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 userDrawn="1"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3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4123846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 userDrawn="1"/>
        </p:nvSpPr>
        <p:spPr>
          <a:xfrm>
            <a:off x="378435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442107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 userDrawn="1"/>
        </p:nvSpPr>
        <p:spPr>
          <a:xfrm>
            <a:off x="373201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5059169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657607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8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57409904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6677894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31243568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3466468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 userDrawn="1"/>
        </p:nvSpPr>
        <p:spPr>
          <a:xfrm>
            <a:off x="753600" y="757800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7418642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7818493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738119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33969257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6618798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7517186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6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7876741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8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336895172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6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9841116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8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4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1075905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414406833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8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4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8950306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067410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6038263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475595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6130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6530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05582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0447138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1278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632114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1396240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609111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057211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199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6105702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 userDrawn="1"/>
        </p:nvSpPr>
        <p:spPr>
          <a:xfrm>
            <a:off x="8962500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 userDrawn="1"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0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6442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461592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9018638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237896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78315227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817673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8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887441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6205C1-06C7-0301-030A-FA8B23177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F232CA-B3DF-D483-79DE-4ACE53C562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8A82A3-9A86-1039-9C49-CB7261DA7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7472C1-4731-A1A4-2858-15E62AB58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7846DC-3315-D7D4-C4B6-034D84FF8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6947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024011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 userDrawn="1"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3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4499959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 userDrawn="1"/>
        </p:nvSpPr>
        <p:spPr>
          <a:xfrm>
            <a:off x="378435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99251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 userDrawn="1"/>
        </p:nvSpPr>
        <p:spPr>
          <a:xfrm>
            <a:off x="373201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0824734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1636214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8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93038714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1181398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7427804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 userDrawn="1"/>
        </p:nvSpPr>
        <p:spPr>
          <a:xfrm>
            <a:off x="753600" y="757800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76798067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096668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43003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8113910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273817029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406318738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1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8E8C37-0E24-449F-93CC-425F329E49BF}"/>
              </a:ext>
            </a:extLst>
          </p:cNvPr>
          <p:cNvSpPr/>
          <p:nvPr userDrawn="1"/>
        </p:nvSpPr>
        <p:spPr>
          <a:xfrm rot="16200000">
            <a:off x="8876027" y="3096197"/>
            <a:ext cx="6155182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130871055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1844AA-EDA4-4F07-BF55-0CA48772EEC7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99526266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7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407762315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103133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9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F6B220DA-58A2-4651-AAC1-F0108702F69E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01524557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7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169721956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88526044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9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5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200098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78659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2010178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6439544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327417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64466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63868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57731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8291189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09292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8247008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381000"/>
            <a:ext cx="5725943" cy="60960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256627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28962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1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9107084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215"/>
            <a:ext cx="6095507" cy="685757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9675166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 userDrawn="1"/>
        </p:nvSpPr>
        <p:spPr>
          <a:xfrm>
            <a:off x="8962501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 userDrawn="1"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1" y="381000"/>
            <a:ext cx="2857501" cy="30480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6443"/>
            <a:ext cx="2866499" cy="3048001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5804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7207374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03021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4009019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485934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9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11641356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 userDrawn="1"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4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5672105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 userDrawn="1"/>
        </p:nvSpPr>
        <p:spPr>
          <a:xfrm>
            <a:off x="378436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63438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5624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 userDrawn="1"/>
        </p:nvSpPr>
        <p:spPr>
          <a:xfrm>
            <a:off x="373202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09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1784267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9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20093194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02508759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1" y="757801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1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609488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 userDrawn="1"/>
        </p:nvSpPr>
        <p:spPr>
          <a:xfrm>
            <a:off x="753600" y="757801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528624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3654256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867628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46252403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3362154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2381996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 sz="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1844AA-EDA4-4F07-BF55-0CA48772EEC7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73785986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7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9051926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156807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40705968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9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F6B220DA-58A2-4651-AAC1-F0108702F69E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42757668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7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58534061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423472823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9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5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8080150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2571934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6404423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306802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0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12390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90555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89579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08981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112606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87056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4563936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0524469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1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2221219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9594700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/>
        </p:nvSpPr>
        <p:spPr>
          <a:xfrm>
            <a:off x="8962501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1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6443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688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72799065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5375115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80779952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44104626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022353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9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329431664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4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5902799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/>
        </p:nvSpPr>
        <p:spPr>
          <a:xfrm>
            <a:off x="378436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3550594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/>
        </p:nvSpPr>
        <p:spPr>
          <a:xfrm>
            <a:off x="373202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2313440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815137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9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8798804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5611755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1785081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1" y="757801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1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83547397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/>
        </p:nvSpPr>
        <p:spPr>
          <a:xfrm>
            <a:off x="753600" y="757801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9884868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4465852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919384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328629528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30707034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7" y="274322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rgbClr val="FFC320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3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rgbClr val="575756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504153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F543B7-5D98-45FF-B7BA-FAEA5D87E588}" type="slidenum">
              <a:rPr lang="en-US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274321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2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97621456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1327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err="1">
              <a:solidFill>
                <a:schemeClr val="bg1"/>
              </a:solidFill>
              <a:latin typeface="Arial Bold" panose="020B0704020202020204" pitchFamily="34" charset="0"/>
              <a:ea typeface="+mj-ea"/>
              <a:cs typeface="Arial" panose="020B0604020202020204" pitchFamily="34" charset="0"/>
              <a:sym typeface="Arial Bold" panose="020B07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103446" y="1392000"/>
            <a:ext cx="10273142" cy="4629288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pPr lvl="0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8B7B46D-9A4A-4D21-8F2E-2ECCA75092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3446" y="446400"/>
            <a:ext cx="10273142" cy="76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C12F0B6-558F-4799-A362-6D70386C6F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3446" y="6117300"/>
            <a:ext cx="10273142" cy="624043"/>
          </a:xfrm>
        </p:spPr>
        <p:txBody>
          <a:bodyPr anchor="b"/>
          <a:lstStyle>
            <a:lvl1pPr marL="0" indent="0" algn="l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footnotes</a:t>
            </a:r>
          </a:p>
          <a:p>
            <a:pPr lvl="0"/>
            <a:r>
              <a:rPr lang="en-US" noProof="0"/>
              <a:t>Click to add general notes</a:t>
            </a:r>
          </a:p>
          <a:p>
            <a:pPr lvl="0"/>
            <a:r>
              <a:rPr lang="en-US" noProof="0"/>
              <a:t>Click to add sourc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652A81-04C9-2D7E-2B8E-B8B2F114E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71327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652A81-04C9-2D7E-2B8E-B8B2F114E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B3B824C-91D5-AB56-8A51-A82750634FFA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err="1">
              <a:solidFill>
                <a:schemeClr val="bg1"/>
              </a:solidFill>
              <a:latin typeface="Arial Bold" panose="020B0704020202020204" pitchFamily="34" charset="0"/>
              <a:ea typeface="+mj-ea"/>
              <a:cs typeface="Arial" panose="020B0604020202020204" pitchFamily="34" charset="0"/>
              <a:sym typeface="Arial Bold" panose="020B07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70414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8252172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98001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24FB28-B178-298C-2F5A-97152EA937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98001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32" imgH="530" progId="TCLayout.ActiveDocument.1">
                  <p:embed/>
                </p:oleObj>
              </mc:Choice>
              <mc:Fallback>
                <p:oleObj name="think-cell Slide" r:id="rId7" imgW="532" imgH="53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24FB28-B178-298C-2F5A-97152EA93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3FDAF79D-A4FC-0B98-75D8-A4BBF1937F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C630091-2D5D-114E-A5FC-4DA519EAAF6D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53201179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1EE7DB-0B16-45E9-861C-9F1DDD7E4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89579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51EE7DB-0B16-45E9-861C-9F1DDD7E4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8"/>
            <a:ext cx="10684800" cy="1143615"/>
          </a:xfrm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80000"/>
              </a:lnSpc>
              <a:defRPr sz="27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 rtl="0"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en-US"/>
              <a:pPr/>
              <a:t>‹nr.›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1960F59-3A10-FE66-81AB-C11450C977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89579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1960F59-3A10-FE66-81AB-C11450C977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777754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in tit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4F96D-DDAA-B946-A863-262067F3FD65}" type="datetime1">
              <a:rPr lang="en-US"/>
              <a:t>11/28/2024</a:t>
            </a:fld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59BFD-B025-4F4A-9B1C-33489278BBA3}" type="slidenum">
              <a:rPr lang="nl-NL"/>
              <a:pPr/>
              <a:t>‹nr.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704" y="949422"/>
            <a:ext cx="10075080" cy="49699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667" b="1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title</a:t>
            </a:r>
            <a:endParaRPr lang="nl-NL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1060704" y="1797052"/>
            <a:ext cx="10075080" cy="455930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25598" indent="0">
              <a:buFontTx/>
              <a:buNone/>
              <a:defRPr/>
            </a:lvl2pPr>
            <a:lvl3pPr marL="451195" indent="0">
              <a:buFontTx/>
              <a:buNone/>
              <a:defRPr/>
            </a:lvl3pPr>
            <a:lvl4pPr marL="724792" indent="0">
              <a:buFontTx/>
              <a:buNone/>
              <a:defRPr/>
            </a:lvl4pPr>
            <a:lvl5pPr marL="99118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07630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472094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661010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ACA32-C401-6179-6087-1E1581552D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9B9A9-DFBB-A6A9-77AA-75A2CAC187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8CB0B4-2649-C28C-3A3F-7355378D7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9F3D06-EDD1-E7D6-B3AD-950240995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325FEC-05F9-56BA-788C-F5F94C727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496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199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985659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/>
        </p:nvSpPr>
        <p:spPr>
          <a:xfrm>
            <a:off x="8962500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0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6442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68087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624422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04937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5883100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951890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8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5725306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3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92274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/>
        </p:nvSpPr>
        <p:spPr>
          <a:xfrm>
            <a:off x="378435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168249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/>
        </p:nvSpPr>
        <p:spPr>
          <a:xfrm>
            <a:off x="373201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15774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AC611-55D3-E709-A008-8A20C3F2C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82EF96-6898-3913-161E-B70B376F0E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375C79-11A0-EDF6-F575-DC7D3250A2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B5490F-8977-7C7B-9CAF-ECDFD6B2BB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F74FC3-E894-A662-3602-F4FDA4504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A94894-DF1D-8490-0D50-5C84BC1DE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9651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738966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8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670706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6689484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7507791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/>
        </p:nvSpPr>
        <p:spPr>
          <a:xfrm>
            <a:off x="753600" y="757800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2315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75611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5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06627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11742737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/>
        </p:nvSpPr>
        <p:spPr>
          <a:xfrm>
            <a:off x="753600" y="757800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/>
        </p:nvSpPr>
        <p:spPr>
          <a:xfrm>
            <a:off x="753600" y="1902600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7461196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40EAE7-2006-FD41-87A6-F6B6041694F2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274321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rgbClr val="FFC320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2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5877AED-B432-954E-9526-F60C95863B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1537199"/>
            <a:ext cx="11090275" cy="4771525"/>
          </a:xfrm>
          <a:prstGeom prst="rect">
            <a:avLst/>
          </a:prstGeom>
        </p:spPr>
        <p:txBody>
          <a:bodyPr lIns="0" tIns="108000" rIns="108000" bIns="108000"/>
          <a:lstStyle>
            <a:lvl1pPr marL="171450" marR="0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200" b="0" cap="none" baseline="0">
                <a:solidFill>
                  <a:srgbClr val="575756"/>
                </a:solidFill>
              </a:defRPr>
            </a:lvl1pPr>
            <a:lvl2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2pPr>
            <a:lvl3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3pPr>
            <a:lvl4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4pPr>
            <a:lvl5pPr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defRPr sz="1200">
                <a:solidFill>
                  <a:srgbClr val="57575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06025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B8684-D545-6B4E-C5EB-035C438EE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3FDDE8-38DE-C258-6A34-62652B322F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9E2054-4FC8-5837-7AC2-B8C7778852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20DBCE-949D-555E-B70E-668A97A63D6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A3F99B-C07F-CF9A-8058-A54C3F7A70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7D6278C-063D-4225-43A5-35235CA55A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B377E4-DC0C-0979-BB0E-AC9290DB3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A4C071-E952-A9E1-4397-DB35DA09A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0708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F543B7-5D98-45FF-B7BA-FAEA5D87E588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274320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1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9367554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1327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err="1">
              <a:solidFill>
                <a:schemeClr val="bg1"/>
              </a:solidFill>
              <a:latin typeface="Arial Bold" panose="020B0704020202020204" pitchFamily="34" charset="0"/>
              <a:ea typeface="+mj-ea"/>
              <a:cs typeface="Arial" panose="020B0604020202020204" pitchFamily="34" charset="0"/>
              <a:sym typeface="Arial Bold" panose="020B07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103446" y="1392000"/>
            <a:ext cx="10273142" cy="4629288"/>
          </a:xfrm>
        </p:spPr>
        <p:txBody>
          <a:bodyPr lIns="0" tIns="0" rIns="0" bIns="0"/>
          <a:lstStyle>
            <a:lvl1pPr marL="0" indent="0">
              <a:buNone/>
              <a:defRPr sz="1600"/>
            </a:lvl1pPr>
          </a:lstStyle>
          <a:p>
            <a:pPr lvl="0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8B7B46D-9A4A-4D21-8F2E-2ECCA75092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03446" y="446400"/>
            <a:ext cx="10273142" cy="768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C12F0B6-558F-4799-A362-6D70386C6F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03446" y="6117299"/>
            <a:ext cx="10273142" cy="624043"/>
          </a:xfrm>
        </p:spPr>
        <p:txBody>
          <a:bodyPr anchor="b"/>
          <a:lstStyle>
            <a:lvl1pPr marL="0" indent="0" algn="l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footnotes</a:t>
            </a:r>
          </a:p>
          <a:p>
            <a:pPr lvl="0"/>
            <a:r>
              <a:rPr lang="en-US" noProof="0"/>
              <a:t>Click to add general notes</a:t>
            </a:r>
          </a:p>
          <a:p>
            <a:pPr lvl="0"/>
            <a:r>
              <a:rPr lang="en-US" noProof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3610684030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ro_Pictur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82E3B2-63C6-4D90-8B7A-569DD80233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0863" y="5378451"/>
            <a:ext cx="11090275" cy="5363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b="1"/>
              <a:t>HEADING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151ED32-4550-447A-AAA2-4D1D05A4B6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5914819"/>
            <a:ext cx="11090275" cy="3939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b="1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519168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98001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12701931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1EE7DB-0B16-45E9-861C-9F1DDD7E4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89579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51EE7DB-0B16-45E9-861C-9F1DDD7E4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0684800" cy="1143615"/>
          </a:xfrm>
        </p:spPr>
        <p:txBody>
          <a:bodyPr vert="horz" lIns="0" tIns="0" rIns="0" bIns="0" anchor="t">
            <a:noAutofit/>
          </a:bodyPr>
          <a:lstStyle>
            <a:lvl1pPr algn="l" rtl="0">
              <a:lnSpc>
                <a:spcPct val="80000"/>
              </a:lnSpc>
              <a:defRPr sz="27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 rtl="0"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1303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in title</a:t>
            </a:r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4F96D-DDAA-B946-A863-262067F3FD65}" type="datetime1">
              <a:rPr lang="en-US" smtClean="0"/>
              <a:t>11/28/2024</a:t>
            </a:fld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8559BFD-B025-4F4A-9B1C-33489278BBA3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1060704" y="949422"/>
            <a:ext cx="10075080" cy="49699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667" b="1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ubtitle</a:t>
            </a:r>
            <a:endParaRPr lang="nl-NL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1060704" y="1797052"/>
            <a:ext cx="10075080" cy="455930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225598" indent="0">
              <a:buFontTx/>
              <a:buNone/>
              <a:defRPr/>
            </a:lvl2pPr>
            <a:lvl3pPr marL="451195" indent="0">
              <a:buFontTx/>
              <a:buNone/>
              <a:defRPr/>
            </a:lvl3pPr>
            <a:lvl4pPr marL="724792" indent="0">
              <a:buFontTx/>
              <a:buNone/>
              <a:defRPr/>
            </a:lvl4pPr>
            <a:lvl5pPr marL="99118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04805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291D18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740EAE7-2006-FD41-87A6-F6B6041694F2}" type="slidenum">
              <a:rPr lang="en-US" smtClean="0">
                <a:solidFill>
                  <a:srgbClr val="291D18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291D18"/>
              </a:solidFill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50866" y="274321"/>
            <a:ext cx="11090275" cy="55195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buFontTx/>
              <a:buNone/>
              <a:defRPr sz="2000" b="1" cap="all" baseline="0">
                <a:solidFill>
                  <a:srgbClr val="FFC421"/>
                </a:solidFill>
              </a:defRPr>
            </a:lvl1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50865" y="1058402"/>
            <a:ext cx="11090272" cy="2492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800" b="0"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8E8C37-0E24-449F-93CC-425F329E49BF}"/>
              </a:ext>
            </a:extLst>
          </p:cNvPr>
          <p:cNvSpPr/>
          <p:nvPr userDrawn="1"/>
        </p:nvSpPr>
        <p:spPr>
          <a:xfrm rot="16200000">
            <a:off x="8876027" y="3096198"/>
            <a:ext cx="6155182" cy="365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5849854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6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15695709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61283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8" y="381000"/>
            <a:ext cx="5725943" cy="60960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82007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7CC0F-64F1-DF7F-AFD8-C55AFCA69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88EAE9-79AE-6890-642E-169A8ABD6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FC4755-9856-D512-A395-B5477C194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F2E878-4A8A-E265-1F16-1A4926E0B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11163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199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8" y="215"/>
            <a:ext cx="6095507" cy="685757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72483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/>
        </p:nvSpPr>
        <p:spPr>
          <a:xfrm>
            <a:off x="8962500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0" y="381000"/>
            <a:ext cx="2857501" cy="3048000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3426442"/>
            <a:ext cx="2866499" cy="3048001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255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/>
        </p:nvSpPr>
        <p:spPr>
          <a:xfrm>
            <a:off x="373201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934518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329B5CC-F61C-4C75-A7E3-3D14FC36E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4295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329B5CC-F61C-4C75-A7E3-3D14FC36E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vert="horz" lIns="684000" tIns="0" rIns="684000" bIns="0">
            <a:noAutofit/>
          </a:bodyPr>
          <a:lstStyle>
            <a:lvl1pPr marL="0" indent="0">
              <a:defRPr sz="33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1844AA-EDA4-4F07-BF55-0CA48772EEC7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1034476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53824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2000" y="377387"/>
            <a:ext cx="11448000" cy="1143615"/>
          </a:xfrm>
        </p:spPr>
        <p:txBody>
          <a:bodyPr vert="horz" lIns="0" tIns="0" rIns="0" bIns="0" anchor="ctr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te bewerken</a:t>
            </a:r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voettekst 3">
            <a:extLst>
              <a:ext uri="{FF2B5EF4-FFF2-40B4-BE49-F238E27FC236}">
                <a16:creationId xmlns:a16="http://schemas.microsoft.com/office/drawing/2014/main" id="{13052FEB-C127-4C4F-B875-FF57CB34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35200" y="6100200"/>
            <a:ext cx="95400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00438C-8D13-4523-9C58-7179D4E40E66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33229972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E660CC3-FEDC-47AA-BD3F-5E3674FC38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3108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E660CC3-FEDC-47AA-BD3F-5E3674FC3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67009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9299" y="757800"/>
            <a:ext cx="10729103" cy="7632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300"/>
            </a:lvl1pPr>
          </a:lstStyle>
          <a:p>
            <a:pPr lvl="0"/>
            <a:r>
              <a:rPr lang="nl-NL"/>
              <a:t>Klik om te bewerken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F6B220DA-58A2-4651-AAC1-F0108702F69E}"/>
              </a:ext>
            </a:extLst>
          </p:cNvPr>
          <p:cNvSpPr/>
          <p:nvPr userDrawn="1"/>
        </p:nvSpPr>
        <p:spPr>
          <a:xfrm rot="16200000">
            <a:off x="9372926" y="3270325"/>
            <a:ext cx="5278150" cy="3816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FFFFFF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srgbClr val="E7E6E6"/>
                </a:solidFill>
              </a:rPr>
              <a:t>For more information, please reach out to Data Acceleration Tribe</a:t>
            </a:r>
          </a:p>
        </p:txBody>
      </p:sp>
    </p:spTree>
    <p:extLst>
      <p:ext uri="{BB962C8B-B14F-4D97-AF65-F5344CB8AC3E}">
        <p14:creationId xmlns:p14="http://schemas.microsoft.com/office/powerpoint/2010/main" val="21790108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521000"/>
            <a:ext cx="11448000" cy="22896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6557"/>
            <a:ext cx="11448000" cy="759153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B617C4FC-BCB0-4586-BFA6-D912131AA9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F8080903-B254-4806-87E0-C47CD323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25405965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ub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114480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10" name="Tijdelijke aanduiding voor tekst 8">
            <a:extLst>
              <a:ext uri="{FF2B5EF4-FFF2-40B4-BE49-F238E27FC236}">
                <a16:creationId xmlns:a16="http://schemas.microsoft.com/office/drawing/2014/main" id="{2D4E30D9-6BD1-426B-A727-88080D88AC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74213" y="6099969"/>
            <a:ext cx="1144588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Datum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5DF4B1CE-9220-4BC5-BCFD-823B28ADF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8650" y="6099969"/>
            <a:ext cx="8394700" cy="381794"/>
          </a:xfrm>
        </p:spPr>
        <p:txBody>
          <a:bodyPr lIns="0" tIns="0" rIns="0" bIns="0" anchor="b">
            <a:normAutofit/>
          </a:bodyPr>
          <a:lstStyle>
            <a:lvl1pPr marL="0" indent="0" algn="r">
              <a:buFontTx/>
              <a:buNone/>
              <a:defRPr sz="195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l-NL"/>
              <a:t>Auteur</a:t>
            </a:r>
          </a:p>
        </p:txBody>
      </p:sp>
    </p:spTree>
    <p:extLst>
      <p:ext uri="{BB962C8B-B14F-4D97-AF65-F5344CB8AC3E}">
        <p14:creationId xmlns:p14="http://schemas.microsoft.com/office/powerpoint/2010/main" val="399674632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grot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jdelijke aanduiding voor afbeelding 18">
            <a:extLst>
              <a:ext uri="{FF2B5EF4-FFF2-40B4-BE49-F238E27FC236}">
                <a16:creationId xmlns:a16="http://schemas.microsoft.com/office/drawing/2014/main" id="{30BB76A1-C79E-4202-8670-B88E10CC96B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269" y="376239"/>
            <a:ext cx="11447462" cy="6105525"/>
          </a:xfrm>
          <a:custGeom>
            <a:avLst/>
            <a:gdLst>
              <a:gd name="connsiteX0" fmla="*/ 1840191 w 22894924"/>
              <a:gd name="connsiteY0" fmla="*/ 10783618 h 12211050"/>
              <a:gd name="connsiteX1" fmla="*/ 1832503 w 22894924"/>
              <a:gd name="connsiteY1" fmla="*/ 10786594 h 12211050"/>
              <a:gd name="connsiteX2" fmla="*/ 1514549 w 22894924"/>
              <a:gd name="connsiteY2" fmla="*/ 10878524 h 12211050"/>
              <a:gd name="connsiteX3" fmla="*/ 1196596 w 22894924"/>
              <a:gd name="connsiteY3" fmla="*/ 10786594 h 12211050"/>
              <a:gd name="connsiteX4" fmla="*/ 1181220 w 22894924"/>
              <a:gd name="connsiteY4" fmla="*/ 10796019 h 12211050"/>
              <a:gd name="connsiteX5" fmla="*/ 1181220 w 22894924"/>
              <a:gd name="connsiteY5" fmla="*/ 10836528 h 12211050"/>
              <a:gd name="connsiteX6" fmla="*/ 1194779 w 22894924"/>
              <a:gd name="connsiteY6" fmla="*/ 10861494 h 12211050"/>
              <a:gd name="connsiteX7" fmla="*/ 1514549 w 22894924"/>
              <a:gd name="connsiteY7" fmla="*/ 10982359 h 12211050"/>
              <a:gd name="connsiteX8" fmla="*/ 1834321 w 22894924"/>
              <a:gd name="connsiteY8" fmla="*/ 10861494 h 12211050"/>
              <a:gd name="connsiteX9" fmla="*/ 1847879 w 22894924"/>
              <a:gd name="connsiteY9" fmla="*/ 10836528 h 12211050"/>
              <a:gd name="connsiteX10" fmla="*/ 1847879 w 22894924"/>
              <a:gd name="connsiteY10" fmla="*/ 10796019 h 12211050"/>
              <a:gd name="connsiteX11" fmla="*/ 1840191 w 22894924"/>
              <a:gd name="connsiteY11" fmla="*/ 10783618 h 12211050"/>
              <a:gd name="connsiteX12" fmla="*/ 1699733 w 22894924"/>
              <a:gd name="connsiteY12" fmla="*/ 10426975 h 12211050"/>
              <a:gd name="connsiteX13" fmla="*/ 1593583 w 22894924"/>
              <a:gd name="connsiteY13" fmla="*/ 10437557 h 12211050"/>
              <a:gd name="connsiteX14" fmla="*/ 1584820 w 22894924"/>
              <a:gd name="connsiteY14" fmla="*/ 10447973 h 12211050"/>
              <a:gd name="connsiteX15" fmla="*/ 1584820 w 22894924"/>
              <a:gd name="connsiteY15" fmla="*/ 10526180 h 12211050"/>
              <a:gd name="connsiteX16" fmla="*/ 1595072 w 22894924"/>
              <a:gd name="connsiteY16" fmla="*/ 10537093 h 12211050"/>
              <a:gd name="connsiteX17" fmla="*/ 1699569 w 22894924"/>
              <a:gd name="connsiteY17" fmla="*/ 10530975 h 12211050"/>
              <a:gd name="connsiteX18" fmla="*/ 1811834 w 22894924"/>
              <a:gd name="connsiteY18" fmla="*/ 10541887 h 12211050"/>
              <a:gd name="connsiteX19" fmla="*/ 1823243 w 22894924"/>
              <a:gd name="connsiteY19" fmla="*/ 10532298 h 12211050"/>
              <a:gd name="connsiteX20" fmla="*/ 1823243 w 22894924"/>
              <a:gd name="connsiteY20" fmla="*/ 10453099 h 12211050"/>
              <a:gd name="connsiteX21" fmla="*/ 1813984 w 22894924"/>
              <a:gd name="connsiteY21" fmla="*/ 10443509 h 12211050"/>
              <a:gd name="connsiteX22" fmla="*/ 1699733 w 22894924"/>
              <a:gd name="connsiteY22" fmla="*/ 10426975 h 12211050"/>
              <a:gd name="connsiteX23" fmla="*/ 1318454 w 22894924"/>
              <a:gd name="connsiteY23" fmla="*/ 10385970 h 12211050"/>
              <a:gd name="connsiteX24" fmla="*/ 1199739 w 22894924"/>
              <a:gd name="connsiteY24" fmla="*/ 10485671 h 12211050"/>
              <a:gd name="connsiteX25" fmla="*/ 1318454 w 22894924"/>
              <a:gd name="connsiteY25" fmla="*/ 10585538 h 12211050"/>
              <a:gd name="connsiteX26" fmla="*/ 1437170 w 22894924"/>
              <a:gd name="connsiteY26" fmla="*/ 10485671 h 12211050"/>
              <a:gd name="connsiteX27" fmla="*/ 1318454 w 22894924"/>
              <a:gd name="connsiteY27" fmla="*/ 10385970 h 12211050"/>
              <a:gd name="connsiteX28" fmla="*/ 1523958 w 22894924"/>
              <a:gd name="connsiteY28" fmla="*/ 10132005 h 12211050"/>
              <a:gd name="connsiteX29" fmla="*/ 1880931 w 22894924"/>
              <a:gd name="connsiteY29" fmla="*/ 10154327 h 12211050"/>
              <a:gd name="connsiteX30" fmla="*/ 2053056 w 22894924"/>
              <a:gd name="connsiteY30" fmla="*/ 10327770 h 12211050"/>
              <a:gd name="connsiteX31" fmla="*/ 2075043 w 22894924"/>
              <a:gd name="connsiteY31" fmla="*/ 10682925 h 12211050"/>
              <a:gd name="connsiteX32" fmla="*/ 2053056 w 22894924"/>
              <a:gd name="connsiteY32" fmla="*/ 11038080 h 12211050"/>
              <a:gd name="connsiteX33" fmla="*/ 2053070 w 22894924"/>
              <a:gd name="connsiteY33" fmla="*/ 11038080 h 12211050"/>
              <a:gd name="connsiteX34" fmla="*/ 1880948 w 22894924"/>
              <a:gd name="connsiteY34" fmla="*/ 11211689 h 12211050"/>
              <a:gd name="connsiteX35" fmla="*/ 1523974 w 22894924"/>
              <a:gd name="connsiteY35" fmla="*/ 11234010 h 12211050"/>
              <a:gd name="connsiteX36" fmla="*/ 1166984 w 22894924"/>
              <a:gd name="connsiteY36" fmla="*/ 11211689 h 12211050"/>
              <a:gd name="connsiteX37" fmla="*/ 994863 w 22894924"/>
              <a:gd name="connsiteY37" fmla="*/ 11038080 h 12211050"/>
              <a:gd name="connsiteX38" fmla="*/ 972873 w 22894924"/>
              <a:gd name="connsiteY38" fmla="*/ 10682925 h 12211050"/>
              <a:gd name="connsiteX39" fmla="*/ 994863 w 22894924"/>
              <a:gd name="connsiteY39" fmla="*/ 10327770 h 12211050"/>
              <a:gd name="connsiteX40" fmla="*/ 1166984 w 22894924"/>
              <a:gd name="connsiteY40" fmla="*/ 10154327 h 12211050"/>
              <a:gd name="connsiteX41" fmla="*/ 1523958 w 22894924"/>
              <a:gd name="connsiteY41" fmla="*/ 10132005 h 12211050"/>
              <a:gd name="connsiteX42" fmla="*/ 1523958 w 22894924"/>
              <a:gd name="connsiteY42" fmla="*/ 9921525 h 12211050"/>
              <a:gd name="connsiteX43" fmla="*/ 1030744 w 22894924"/>
              <a:gd name="connsiteY43" fmla="*/ 9952444 h 12211050"/>
              <a:gd name="connsiteX44" fmla="*/ 792981 w 22894924"/>
              <a:gd name="connsiteY44" fmla="*/ 10192190 h 12211050"/>
              <a:gd name="connsiteX45" fmla="*/ 762558 w 22894924"/>
              <a:gd name="connsiteY45" fmla="*/ 10682925 h 12211050"/>
              <a:gd name="connsiteX46" fmla="*/ 792981 w 22894924"/>
              <a:gd name="connsiteY46" fmla="*/ 11173660 h 12211050"/>
              <a:gd name="connsiteX47" fmla="*/ 1030744 w 22894924"/>
              <a:gd name="connsiteY47" fmla="*/ 11413406 h 12211050"/>
              <a:gd name="connsiteX48" fmla="*/ 1523958 w 22894924"/>
              <a:gd name="connsiteY48" fmla="*/ 11444325 h 12211050"/>
              <a:gd name="connsiteX49" fmla="*/ 2017173 w 22894924"/>
              <a:gd name="connsiteY49" fmla="*/ 11413406 h 12211050"/>
              <a:gd name="connsiteX50" fmla="*/ 2255100 w 22894924"/>
              <a:gd name="connsiteY50" fmla="*/ 11173660 h 12211050"/>
              <a:gd name="connsiteX51" fmla="*/ 2285523 w 22894924"/>
              <a:gd name="connsiteY51" fmla="*/ 10682925 h 12211050"/>
              <a:gd name="connsiteX52" fmla="*/ 2254938 w 22894924"/>
              <a:gd name="connsiteY52" fmla="*/ 10192190 h 12211050"/>
              <a:gd name="connsiteX53" fmla="*/ 2017012 w 22894924"/>
              <a:gd name="connsiteY53" fmla="*/ 9952444 h 12211050"/>
              <a:gd name="connsiteX54" fmla="*/ 1523958 w 22894924"/>
              <a:gd name="connsiteY54" fmla="*/ 9921525 h 12211050"/>
              <a:gd name="connsiteX55" fmla="*/ 0 w 22894924"/>
              <a:gd name="connsiteY55" fmla="*/ 0 h 12211050"/>
              <a:gd name="connsiteX56" fmla="*/ 22894924 w 22894924"/>
              <a:gd name="connsiteY56" fmla="*/ 0 h 12211050"/>
              <a:gd name="connsiteX57" fmla="*/ 22894924 w 22894924"/>
              <a:gd name="connsiteY57" fmla="*/ 12211050 h 12211050"/>
              <a:gd name="connsiteX58" fmla="*/ 0 w 22894924"/>
              <a:gd name="connsiteY58" fmla="*/ 12211050 h 1221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2894924" h="12211050">
                <a:moveTo>
                  <a:pt x="1840191" y="10783618"/>
                </a:moveTo>
                <a:cubicBezTo>
                  <a:pt x="1836347" y="10783824"/>
                  <a:pt x="1832503" y="10786594"/>
                  <a:pt x="1832503" y="10786594"/>
                </a:cubicBezTo>
                <a:cubicBezTo>
                  <a:pt x="1791332" y="10812553"/>
                  <a:pt x="1670797" y="10878524"/>
                  <a:pt x="1514549" y="10878524"/>
                </a:cubicBezTo>
                <a:cubicBezTo>
                  <a:pt x="1358301" y="10878524"/>
                  <a:pt x="1237932" y="10812553"/>
                  <a:pt x="1196596" y="10786594"/>
                </a:cubicBezTo>
                <a:cubicBezTo>
                  <a:pt x="1196596" y="10786594"/>
                  <a:pt x="1181220" y="10775682"/>
                  <a:pt x="1181220" y="10796019"/>
                </a:cubicBezTo>
                <a:lnTo>
                  <a:pt x="1181220" y="10836528"/>
                </a:lnTo>
                <a:cubicBezTo>
                  <a:pt x="1181220" y="10848763"/>
                  <a:pt x="1194779" y="10861494"/>
                  <a:pt x="1194779" y="10861494"/>
                </a:cubicBezTo>
                <a:cubicBezTo>
                  <a:pt x="1235452" y="10893240"/>
                  <a:pt x="1362931" y="10982359"/>
                  <a:pt x="1514549" y="10982359"/>
                </a:cubicBezTo>
                <a:cubicBezTo>
                  <a:pt x="1666169" y="10982359"/>
                  <a:pt x="1793482" y="10893240"/>
                  <a:pt x="1834321" y="10861494"/>
                </a:cubicBezTo>
                <a:cubicBezTo>
                  <a:pt x="1834321" y="10861494"/>
                  <a:pt x="1847879" y="10848598"/>
                  <a:pt x="1847879" y="10836528"/>
                </a:cubicBezTo>
                <a:lnTo>
                  <a:pt x="1847879" y="10796019"/>
                </a:lnTo>
                <a:cubicBezTo>
                  <a:pt x="1847879" y="10785768"/>
                  <a:pt x="1844035" y="10783411"/>
                  <a:pt x="1840191" y="10783618"/>
                </a:cubicBezTo>
                <a:close/>
                <a:moveTo>
                  <a:pt x="1699733" y="10426975"/>
                </a:moveTo>
                <a:cubicBezTo>
                  <a:pt x="1664059" y="10426381"/>
                  <a:pt x="1628437" y="10429932"/>
                  <a:pt x="1593583" y="10437557"/>
                </a:cubicBezTo>
                <a:cubicBezTo>
                  <a:pt x="1593583" y="10437557"/>
                  <a:pt x="1584820" y="10440202"/>
                  <a:pt x="1584820" y="10447973"/>
                </a:cubicBezTo>
                <a:lnTo>
                  <a:pt x="1584820" y="10526180"/>
                </a:lnTo>
                <a:cubicBezTo>
                  <a:pt x="1584820" y="10541061"/>
                  <a:pt x="1595072" y="10537093"/>
                  <a:pt x="1595072" y="10537093"/>
                </a:cubicBezTo>
                <a:cubicBezTo>
                  <a:pt x="1629676" y="10532170"/>
                  <a:pt x="1664626" y="10530124"/>
                  <a:pt x="1699569" y="10530975"/>
                </a:cubicBezTo>
                <a:cubicBezTo>
                  <a:pt x="1737215" y="10531703"/>
                  <a:pt x="1774752" y="10535351"/>
                  <a:pt x="1811834" y="10541887"/>
                </a:cubicBezTo>
                <a:cubicBezTo>
                  <a:pt x="1811834" y="10541888"/>
                  <a:pt x="1823243" y="10544698"/>
                  <a:pt x="1823243" y="10532298"/>
                </a:cubicBezTo>
                <a:lnTo>
                  <a:pt x="1823243" y="10453099"/>
                </a:lnTo>
                <a:cubicBezTo>
                  <a:pt x="1823243" y="10445824"/>
                  <a:pt x="1813984" y="10443509"/>
                  <a:pt x="1813984" y="10443509"/>
                </a:cubicBezTo>
                <a:cubicBezTo>
                  <a:pt x="1776679" y="10433540"/>
                  <a:pt x="1738334" y="10427990"/>
                  <a:pt x="1699733" y="10426975"/>
                </a:cubicBezTo>
                <a:close/>
                <a:moveTo>
                  <a:pt x="1318454" y="10385970"/>
                </a:moveTo>
                <a:cubicBezTo>
                  <a:pt x="1318454" y="10385970"/>
                  <a:pt x="1199739" y="10386135"/>
                  <a:pt x="1199739" y="10485671"/>
                </a:cubicBezTo>
                <a:cubicBezTo>
                  <a:pt x="1199739" y="10585207"/>
                  <a:pt x="1318454" y="10585538"/>
                  <a:pt x="1318454" y="10585538"/>
                </a:cubicBezTo>
                <a:cubicBezTo>
                  <a:pt x="1318454" y="10585538"/>
                  <a:pt x="1437170" y="10585372"/>
                  <a:pt x="1437170" y="10485671"/>
                </a:cubicBezTo>
                <a:cubicBezTo>
                  <a:pt x="1437170" y="10385970"/>
                  <a:pt x="1318454" y="10385970"/>
                  <a:pt x="1318454" y="10385970"/>
                </a:cubicBezTo>
                <a:close/>
                <a:moveTo>
                  <a:pt x="1523958" y="10132005"/>
                </a:moveTo>
                <a:cubicBezTo>
                  <a:pt x="1736590" y="10132005"/>
                  <a:pt x="1880931" y="10154327"/>
                  <a:pt x="1880931" y="10154327"/>
                </a:cubicBezTo>
                <a:cubicBezTo>
                  <a:pt x="1971873" y="10165239"/>
                  <a:pt x="2041974" y="10236832"/>
                  <a:pt x="2053056" y="10327770"/>
                </a:cubicBezTo>
                <a:cubicBezTo>
                  <a:pt x="2053056" y="10327770"/>
                  <a:pt x="2075043" y="10489971"/>
                  <a:pt x="2075043" y="10682925"/>
                </a:cubicBezTo>
                <a:cubicBezTo>
                  <a:pt x="2075043" y="10875879"/>
                  <a:pt x="2053056" y="11038080"/>
                  <a:pt x="2053056" y="11038080"/>
                </a:cubicBezTo>
                <a:lnTo>
                  <a:pt x="2053070" y="11038080"/>
                </a:lnTo>
                <a:cubicBezTo>
                  <a:pt x="2041991" y="11129018"/>
                  <a:pt x="1971887" y="11200611"/>
                  <a:pt x="1880948" y="11211689"/>
                </a:cubicBezTo>
                <a:cubicBezTo>
                  <a:pt x="1880948" y="11211689"/>
                  <a:pt x="1736605" y="11234010"/>
                  <a:pt x="1523974" y="11234010"/>
                </a:cubicBezTo>
                <a:cubicBezTo>
                  <a:pt x="1311344" y="11234010"/>
                  <a:pt x="1166984" y="11211689"/>
                  <a:pt x="1166984" y="11211689"/>
                </a:cubicBezTo>
                <a:cubicBezTo>
                  <a:pt x="1076046" y="11200776"/>
                  <a:pt x="1005944" y="11129018"/>
                  <a:pt x="994863" y="11038080"/>
                </a:cubicBezTo>
                <a:cubicBezTo>
                  <a:pt x="994863" y="11038080"/>
                  <a:pt x="972873" y="10875879"/>
                  <a:pt x="972873" y="10682925"/>
                </a:cubicBezTo>
                <a:cubicBezTo>
                  <a:pt x="972873" y="10489971"/>
                  <a:pt x="994863" y="10327770"/>
                  <a:pt x="994863" y="10327770"/>
                </a:cubicBezTo>
                <a:cubicBezTo>
                  <a:pt x="1005944" y="10236832"/>
                  <a:pt x="1076046" y="10165239"/>
                  <a:pt x="1166984" y="10154327"/>
                </a:cubicBezTo>
                <a:cubicBezTo>
                  <a:pt x="1166984" y="10154327"/>
                  <a:pt x="1311328" y="10132005"/>
                  <a:pt x="1523958" y="10132005"/>
                </a:cubicBezTo>
                <a:close/>
                <a:moveTo>
                  <a:pt x="1523958" y="9921525"/>
                </a:moveTo>
                <a:cubicBezTo>
                  <a:pt x="1230310" y="9921525"/>
                  <a:pt x="1030744" y="9952444"/>
                  <a:pt x="1030744" y="9952444"/>
                </a:cubicBezTo>
                <a:cubicBezTo>
                  <a:pt x="905082" y="9967655"/>
                  <a:pt x="808192" y="10066530"/>
                  <a:pt x="792981" y="10192190"/>
                </a:cubicBezTo>
                <a:cubicBezTo>
                  <a:pt x="792981" y="10192190"/>
                  <a:pt x="762558" y="10416394"/>
                  <a:pt x="762558" y="10682925"/>
                </a:cubicBezTo>
                <a:cubicBezTo>
                  <a:pt x="762558" y="10949456"/>
                  <a:pt x="792981" y="11173660"/>
                  <a:pt x="792981" y="11173660"/>
                </a:cubicBezTo>
                <a:cubicBezTo>
                  <a:pt x="808192" y="11299320"/>
                  <a:pt x="905082" y="11398195"/>
                  <a:pt x="1030744" y="11413406"/>
                </a:cubicBezTo>
                <a:cubicBezTo>
                  <a:pt x="1030744" y="11413406"/>
                  <a:pt x="1230310" y="11444325"/>
                  <a:pt x="1523958" y="11444325"/>
                </a:cubicBezTo>
                <a:cubicBezTo>
                  <a:pt x="1817605" y="11444325"/>
                  <a:pt x="2017173" y="11413406"/>
                  <a:pt x="2017173" y="11413406"/>
                </a:cubicBezTo>
                <a:cubicBezTo>
                  <a:pt x="2142837" y="11398195"/>
                  <a:pt x="2239727" y="11299320"/>
                  <a:pt x="2255100" y="11173660"/>
                </a:cubicBezTo>
                <a:cubicBezTo>
                  <a:pt x="2255100" y="11173660"/>
                  <a:pt x="2285523" y="10949456"/>
                  <a:pt x="2285523" y="10682925"/>
                </a:cubicBezTo>
                <a:cubicBezTo>
                  <a:pt x="2285523" y="10416394"/>
                  <a:pt x="2254938" y="10192355"/>
                  <a:pt x="2254938" y="10192190"/>
                </a:cubicBezTo>
                <a:cubicBezTo>
                  <a:pt x="2239727" y="10066530"/>
                  <a:pt x="2142837" y="9967490"/>
                  <a:pt x="2017012" y="9952444"/>
                </a:cubicBezTo>
                <a:cubicBezTo>
                  <a:pt x="2017012" y="9952444"/>
                  <a:pt x="1817605" y="9921525"/>
                  <a:pt x="1523958" y="9921525"/>
                </a:cubicBezTo>
                <a:close/>
                <a:moveTo>
                  <a:pt x="0" y="0"/>
                </a:moveTo>
                <a:lnTo>
                  <a:pt x="22894924" y="0"/>
                </a:lnTo>
                <a:lnTo>
                  <a:pt x="22894924" y="12211050"/>
                </a:lnTo>
                <a:lnTo>
                  <a:pt x="0" y="1221105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41" name="Graphic 30">
            <a:extLst>
              <a:ext uri="{FF2B5EF4-FFF2-40B4-BE49-F238E27FC236}">
                <a16:creationId xmlns:a16="http://schemas.microsoft.com/office/drawing/2014/main" id="{7300C2CC-DCB2-4CCE-9C0F-E45C2439537D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</p:grpSpPr>
        <p:sp>
          <p:nvSpPr>
            <p:cNvPr id="42" name="Vrije vorm: vorm 41">
              <a:extLst>
                <a:ext uri="{FF2B5EF4-FFF2-40B4-BE49-F238E27FC236}">
                  <a16:creationId xmlns:a16="http://schemas.microsoft.com/office/drawing/2014/main" id="{113834B0-9555-4F85-89A9-A6F09D43D548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3" name="Vrije vorm: vorm 42">
              <a:extLst>
                <a:ext uri="{FF2B5EF4-FFF2-40B4-BE49-F238E27FC236}">
                  <a16:creationId xmlns:a16="http://schemas.microsoft.com/office/drawing/2014/main" id="{80684FA3-E7E0-42D0-B26F-9315996F2D5E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4" name="Vrije vorm: vorm 43">
              <a:extLst>
                <a:ext uri="{FF2B5EF4-FFF2-40B4-BE49-F238E27FC236}">
                  <a16:creationId xmlns:a16="http://schemas.microsoft.com/office/drawing/2014/main" id="{76E94F91-DDAE-4331-A8C2-A0250CF594E0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45" name="Vrije vorm: vorm 44">
              <a:extLst>
                <a:ext uri="{FF2B5EF4-FFF2-40B4-BE49-F238E27FC236}">
                  <a16:creationId xmlns:a16="http://schemas.microsoft.com/office/drawing/2014/main" id="{737A35B5-C0E6-4F8B-BDAB-5C48E81BF186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63EF91E-A731-4F96-8C36-A79A402CF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364" y="1432735"/>
            <a:ext cx="10667273" cy="2679701"/>
          </a:xfrm>
        </p:spPr>
        <p:txBody>
          <a:bodyPr lIns="50400" tIns="50400" rIns="50400" bIns="50400" anchor="b">
            <a:noAutofit/>
          </a:bodyPr>
          <a:lstStyle>
            <a:lvl1pPr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232856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C357AF-BC29-6893-5B7B-865C9985C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4BFD4C0-260C-6D46-742D-7FE62B475E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5227D1-FD28-F087-A851-9740621C3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08010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sli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jdelijke aanduiding voor afbeelding 22">
            <a:extLst>
              <a:ext uri="{FF2B5EF4-FFF2-40B4-BE49-F238E27FC236}">
                <a16:creationId xmlns:a16="http://schemas.microsoft.com/office/drawing/2014/main" id="{88FFE426-80E4-45E4-AB82-433637011D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201600" cy="6863557"/>
          </a:xfrm>
          <a:custGeom>
            <a:avLst/>
            <a:gdLst>
              <a:gd name="connsiteX0" fmla="*/ 1835895 w 24403200"/>
              <a:gd name="connsiteY0" fmla="*/ 12299293 h 13727113"/>
              <a:gd name="connsiteX1" fmla="*/ 1828206 w 24403200"/>
              <a:gd name="connsiteY1" fmla="*/ 12302269 h 13727113"/>
              <a:gd name="connsiteX2" fmla="*/ 1510254 w 24403200"/>
              <a:gd name="connsiteY2" fmla="*/ 12394199 h 13727113"/>
              <a:gd name="connsiteX3" fmla="*/ 1192300 w 24403200"/>
              <a:gd name="connsiteY3" fmla="*/ 12302269 h 13727113"/>
              <a:gd name="connsiteX4" fmla="*/ 1176924 w 24403200"/>
              <a:gd name="connsiteY4" fmla="*/ 12311694 h 13727113"/>
              <a:gd name="connsiteX5" fmla="*/ 1176924 w 24403200"/>
              <a:gd name="connsiteY5" fmla="*/ 12352203 h 13727113"/>
              <a:gd name="connsiteX6" fmla="*/ 1190483 w 24403200"/>
              <a:gd name="connsiteY6" fmla="*/ 12377169 h 13727113"/>
              <a:gd name="connsiteX7" fmla="*/ 1510254 w 24403200"/>
              <a:gd name="connsiteY7" fmla="*/ 12498034 h 13727113"/>
              <a:gd name="connsiteX8" fmla="*/ 1830026 w 24403200"/>
              <a:gd name="connsiteY8" fmla="*/ 12377169 h 13727113"/>
              <a:gd name="connsiteX9" fmla="*/ 1843583 w 24403200"/>
              <a:gd name="connsiteY9" fmla="*/ 12352203 h 13727113"/>
              <a:gd name="connsiteX10" fmla="*/ 1843583 w 24403200"/>
              <a:gd name="connsiteY10" fmla="*/ 12311694 h 13727113"/>
              <a:gd name="connsiteX11" fmla="*/ 1835895 w 24403200"/>
              <a:gd name="connsiteY11" fmla="*/ 12299293 h 13727113"/>
              <a:gd name="connsiteX12" fmla="*/ 1695436 w 24403200"/>
              <a:gd name="connsiteY12" fmla="*/ 11942650 h 13727113"/>
              <a:gd name="connsiteX13" fmla="*/ 1589287 w 24403200"/>
              <a:gd name="connsiteY13" fmla="*/ 11953232 h 13727113"/>
              <a:gd name="connsiteX14" fmla="*/ 1580524 w 24403200"/>
              <a:gd name="connsiteY14" fmla="*/ 11963648 h 13727113"/>
              <a:gd name="connsiteX15" fmla="*/ 1580524 w 24403200"/>
              <a:gd name="connsiteY15" fmla="*/ 12041855 h 13727113"/>
              <a:gd name="connsiteX16" fmla="*/ 1590775 w 24403200"/>
              <a:gd name="connsiteY16" fmla="*/ 12052768 h 13727113"/>
              <a:gd name="connsiteX17" fmla="*/ 1695272 w 24403200"/>
              <a:gd name="connsiteY17" fmla="*/ 12046650 h 13727113"/>
              <a:gd name="connsiteX18" fmla="*/ 1807538 w 24403200"/>
              <a:gd name="connsiteY18" fmla="*/ 12057562 h 13727113"/>
              <a:gd name="connsiteX19" fmla="*/ 1818947 w 24403200"/>
              <a:gd name="connsiteY19" fmla="*/ 12047973 h 13727113"/>
              <a:gd name="connsiteX20" fmla="*/ 1818947 w 24403200"/>
              <a:gd name="connsiteY20" fmla="*/ 11968774 h 13727113"/>
              <a:gd name="connsiteX21" fmla="*/ 1809689 w 24403200"/>
              <a:gd name="connsiteY21" fmla="*/ 11959184 h 13727113"/>
              <a:gd name="connsiteX22" fmla="*/ 1695436 w 24403200"/>
              <a:gd name="connsiteY22" fmla="*/ 11942650 h 13727113"/>
              <a:gd name="connsiteX23" fmla="*/ 1314158 w 24403200"/>
              <a:gd name="connsiteY23" fmla="*/ 11901645 h 13727113"/>
              <a:gd name="connsiteX24" fmla="*/ 1195443 w 24403200"/>
              <a:gd name="connsiteY24" fmla="*/ 12001346 h 13727113"/>
              <a:gd name="connsiteX25" fmla="*/ 1314158 w 24403200"/>
              <a:gd name="connsiteY25" fmla="*/ 12101213 h 13727113"/>
              <a:gd name="connsiteX26" fmla="*/ 1432874 w 24403200"/>
              <a:gd name="connsiteY26" fmla="*/ 12001346 h 13727113"/>
              <a:gd name="connsiteX27" fmla="*/ 1314158 w 24403200"/>
              <a:gd name="connsiteY27" fmla="*/ 11901645 h 13727113"/>
              <a:gd name="connsiteX28" fmla="*/ 1519662 w 24403200"/>
              <a:gd name="connsiteY28" fmla="*/ 11647680 h 13727113"/>
              <a:gd name="connsiteX29" fmla="*/ 1876635 w 24403200"/>
              <a:gd name="connsiteY29" fmla="*/ 11670002 h 13727113"/>
              <a:gd name="connsiteX30" fmla="*/ 2048756 w 24403200"/>
              <a:gd name="connsiteY30" fmla="*/ 11843445 h 13727113"/>
              <a:gd name="connsiteX31" fmla="*/ 2070748 w 24403200"/>
              <a:gd name="connsiteY31" fmla="*/ 12198600 h 13727113"/>
              <a:gd name="connsiteX32" fmla="*/ 2048756 w 24403200"/>
              <a:gd name="connsiteY32" fmla="*/ 12553755 h 13727113"/>
              <a:gd name="connsiteX33" fmla="*/ 2048773 w 24403200"/>
              <a:gd name="connsiteY33" fmla="*/ 12553755 h 13727113"/>
              <a:gd name="connsiteX34" fmla="*/ 1876652 w 24403200"/>
              <a:gd name="connsiteY34" fmla="*/ 12727364 h 13727113"/>
              <a:gd name="connsiteX35" fmla="*/ 1519678 w 24403200"/>
              <a:gd name="connsiteY35" fmla="*/ 12749685 h 13727113"/>
              <a:gd name="connsiteX36" fmla="*/ 1162688 w 24403200"/>
              <a:gd name="connsiteY36" fmla="*/ 12727364 h 13727113"/>
              <a:gd name="connsiteX37" fmla="*/ 990567 w 24403200"/>
              <a:gd name="connsiteY37" fmla="*/ 12553755 h 13727113"/>
              <a:gd name="connsiteX38" fmla="*/ 968577 w 24403200"/>
              <a:gd name="connsiteY38" fmla="*/ 12198600 h 13727113"/>
              <a:gd name="connsiteX39" fmla="*/ 990567 w 24403200"/>
              <a:gd name="connsiteY39" fmla="*/ 11843445 h 13727113"/>
              <a:gd name="connsiteX40" fmla="*/ 1162688 w 24403200"/>
              <a:gd name="connsiteY40" fmla="*/ 11670002 h 13727113"/>
              <a:gd name="connsiteX41" fmla="*/ 1519662 w 24403200"/>
              <a:gd name="connsiteY41" fmla="*/ 11647680 h 13727113"/>
              <a:gd name="connsiteX42" fmla="*/ 1519662 w 24403200"/>
              <a:gd name="connsiteY42" fmla="*/ 11437200 h 13727113"/>
              <a:gd name="connsiteX43" fmla="*/ 1026446 w 24403200"/>
              <a:gd name="connsiteY43" fmla="*/ 11468119 h 13727113"/>
              <a:gd name="connsiteX44" fmla="*/ 788685 w 24403200"/>
              <a:gd name="connsiteY44" fmla="*/ 11707865 h 13727113"/>
              <a:gd name="connsiteX45" fmla="*/ 758262 w 24403200"/>
              <a:gd name="connsiteY45" fmla="*/ 12198600 h 13727113"/>
              <a:gd name="connsiteX46" fmla="*/ 788685 w 24403200"/>
              <a:gd name="connsiteY46" fmla="*/ 12689335 h 13727113"/>
              <a:gd name="connsiteX47" fmla="*/ 1026446 w 24403200"/>
              <a:gd name="connsiteY47" fmla="*/ 12929081 h 13727113"/>
              <a:gd name="connsiteX48" fmla="*/ 1519662 w 24403200"/>
              <a:gd name="connsiteY48" fmla="*/ 12960000 h 13727113"/>
              <a:gd name="connsiteX49" fmla="*/ 2012877 w 24403200"/>
              <a:gd name="connsiteY49" fmla="*/ 12929081 h 13727113"/>
              <a:gd name="connsiteX50" fmla="*/ 2250806 w 24403200"/>
              <a:gd name="connsiteY50" fmla="*/ 12689335 h 13727113"/>
              <a:gd name="connsiteX51" fmla="*/ 2281227 w 24403200"/>
              <a:gd name="connsiteY51" fmla="*/ 12198600 h 13727113"/>
              <a:gd name="connsiteX52" fmla="*/ 2250639 w 24403200"/>
              <a:gd name="connsiteY52" fmla="*/ 11707865 h 13727113"/>
              <a:gd name="connsiteX53" fmla="*/ 2012712 w 24403200"/>
              <a:gd name="connsiteY53" fmla="*/ 11468119 h 13727113"/>
              <a:gd name="connsiteX54" fmla="*/ 1519662 w 24403200"/>
              <a:gd name="connsiteY54" fmla="*/ 11437200 h 13727113"/>
              <a:gd name="connsiteX55" fmla="*/ 0 w 24403200"/>
              <a:gd name="connsiteY55" fmla="*/ 0 h 13727113"/>
              <a:gd name="connsiteX56" fmla="*/ 24403200 w 24403200"/>
              <a:gd name="connsiteY56" fmla="*/ 0 h 13727113"/>
              <a:gd name="connsiteX57" fmla="*/ 24403200 w 24403200"/>
              <a:gd name="connsiteY57" fmla="*/ 13727113 h 13727113"/>
              <a:gd name="connsiteX58" fmla="*/ 0 w 24403200"/>
              <a:gd name="connsiteY58" fmla="*/ 13727113 h 13727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24403200" h="13727113">
                <a:moveTo>
                  <a:pt x="1835895" y="12299293"/>
                </a:moveTo>
                <a:cubicBezTo>
                  <a:pt x="1832051" y="12299499"/>
                  <a:pt x="1828206" y="12302269"/>
                  <a:pt x="1828206" y="12302269"/>
                </a:cubicBezTo>
                <a:cubicBezTo>
                  <a:pt x="1787037" y="12328228"/>
                  <a:pt x="1666501" y="12394199"/>
                  <a:pt x="1510254" y="12394199"/>
                </a:cubicBezTo>
                <a:cubicBezTo>
                  <a:pt x="1354005" y="12394199"/>
                  <a:pt x="1233636" y="12328228"/>
                  <a:pt x="1192300" y="12302269"/>
                </a:cubicBezTo>
                <a:cubicBezTo>
                  <a:pt x="1192300" y="12302269"/>
                  <a:pt x="1176924" y="12291357"/>
                  <a:pt x="1176924" y="12311694"/>
                </a:cubicBezTo>
                <a:lnTo>
                  <a:pt x="1176924" y="12352203"/>
                </a:lnTo>
                <a:cubicBezTo>
                  <a:pt x="1176924" y="12364438"/>
                  <a:pt x="1190483" y="12377169"/>
                  <a:pt x="1190483" y="12377169"/>
                </a:cubicBezTo>
                <a:cubicBezTo>
                  <a:pt x="1231156" y="12408915"/>
                  <a:pt x="1358635" y="12498034"/>
                  <a:pt x="1510254" y="12498034"/>
                </a:cubicBezTo>
                <a:cubicBezTo>
                  <a:pt x="1661872" y="12498034"/>
                  <a:pt x="1789185" y="12408915"/>
                  <a:pt x="1830026" y="12377169"/>
                </a:cubicBezTo>
                <a:cubicBezTo>
                  <a:pt x="1830026" y="12377169"/>
                  <a:pt x="1843583" y="12364273"/>
                  <a:pt x="1843583" y="12352203"/>
                </a:cubicBezTo>
                <a:lnTo>
                  <a:pt x="1843583" y="12311694"/>
                </a:lnTo>
                <a:cubicBezTo>
                  <a:pt x="1843583" y="12301442"/>
                  <a:pt x="1839739" y="12299086"/>
                  <a:pt x="1835895" y="12299293"/>
                </a:cubicBezTo>
                <a:close/>
                <a:moveTo>
                  <a:pt x="1695436" y="11942650"/>
                </a:moveTo>
                <a:cubicBezTo>
                  <a:pt x="1659764" y="11942056"/>
                  <a:pt x="1624141" y="11945607"/>
                  <a:pt x="1589287" y="11953232"/>
                </a:cubicBezTo>
                <a:cubicBezTo>
                  <a:pt x="1589287" y="11953232"/>
                  <a:pt x="1580524" y="11955877"/>
                  <a:pt x="1580524" y="11963648"/>
                </a:cubicBezTo>
                <a:lnTo>
                  <a:pt x="1580524" y="12041855"/>
                </a:lnTo>
                <a:cubicBezTo>
                  <a:pt x="1580524" y="12056736"/>
                  <a:pt x="1590775" y="12052768"/>
                  <a:pt x="1590775" y="12052768"/>
                </a:cubicBezTo>
                <a:cubicBezTo>
                  <a:pt x="1625380" y="12047845"/>
                  <a:pt x="1660330" y="12045799"/>
                  <a:pt x="1695272" y="12046650"/>
                </a:cubicBezTo>
                <a:cubicBezTo>
                  <a:pt x="1732921" y="12047378"/>
                  <a:pt x="1770454" y="12051026"/>
                  <a:pt x="1807538" y="12057562"/>
                </a:cubicBezTo>
                <a:cubicBezTo>
                  <a:pt x="1807538" y="12057563"/>
                  <a:pt x="1818947" y="12060373"/>
                  <a:pt x="1818947" y="12047973"/>
                </a:cubicBezTo>
                <a:lnTo>
                  <a:pt x="1818947" y="11968774"/>
                </a:lnTo>
                <a:cubicBezTo>
                  <a:pt x="1818947" y="11961499"/>
                  <a:pt x="1809689" y="11959184"/>
                  <a:pt x="1809689" y="11959184"/>
                </a:cubicBezTo>
                <a:cubicBezTo>
                  <a:pt x="1772383" y="11949215"/>
                  <a:pt x="1734037" y="11943665"/>
                  <a:pt x="1695436" y="11942650"/>
                </a:cubicBezTo>
                <a:close/>
                <a:moveTo>
                  <a:pt x="1314158" y="11901645"/>
                </a:moveTo>
                <a:cubicBezTo>
                  <a:pt x="1314158" y="11901645"/>
                  <a:pt x="1195443" y="11901810"/>
                  <a:pt x="1195443" y="12001346"/>
                </a:cubicBezTo>
                <a:cubicBezTo>
                  <a:pt x="1195443" y="12100882"/>
                  <a:pt x="1314158" y="12101213"/>
                  <a:pt x="1314158" y="12101213"/>
                </a:cubicBezTo>
                <a:cubicBezTo>
                  <a:pt x="1314158" y="12101213"/>
                  <a:pt x="1432874" y="12101047"/>
                  <a:pt x="1432874" y="12001346"/>
                </a:cubicBezTo>
                <a:cubicBezTo>
                  <a:pt x="1432874" y="11901645"/>
                  <a:pt x="1314158" y="11901645"/>
                  <a:pt x="1314158" y="11901645"/>
                </a:cubicBezTo>
                <a:close/>
                <a:moveTo>
                  <a:pt x="1519662" y="11647680"/>
                </a:moveTo>
                <a:cubicBezTo>
                  <a:pt x="1732293" y="11647680"/>
                  <a:pt x="1876635" y="11670002"/>
                  <a:pt x="1876635" y="11670002"/>
                </a:cubicBezTo>
                <a:cubicBezTo>
                  <a:pt x="1967573" y="11680914"/>
                  <a:pt x="2037678" y="11752507"/>
                  <a:pt x="2048756" y="11843445"/>
                </a:cubicBezTo>
                <a:cubicBezTo>
                  <a:pt x="2048756" y="11843445"/>
                  <a:pt x="2070748" y="12005646"/>
                  <a:pt x="2070748" y="12198600"/>
                </a:cubicBezTo>
                <a:cubicBezTo>
                  <a:pt x="2070748" y="12391554"/>
                  <a:pt x="2048756" y="12553755"/>
                  <a:pt x="2048756" y="12553755"/>
                </a:cubicBezTo>
                <a:lnTo>
                  <a:pt x="2048773" y="12553755"/>
                </a:lnTo>
                <a:cubicBezTo>
                  <a:pt x="2037696" y="12644693"/>
                  <a:pt x="1967591" y="12716286"/>
                  <a:pt x="1876652" y="12727364"/>
                </a:cubicBezTo>
                <a:cubicBezTo>
                  <a:pt x="1876652" y="12727364"/>
                  <a:pt x="1732309" y="12749685"/>
                  <a:pt x="1519678" y="12749685"/>
                </a:cubicBezTo>
                <a:cubicBezTo>
                  <a:pt x="1307048" y="12749685"/>
                  <a:pt x="1162688" y="12727364"/>
                  <a:pt x="1162688" y="12727364"/>
                </a:cubicBezTo>
                <a:cubicBezTo>
                  <a:pt x="1071750" y="12716451"/>
                  <a:pt x="1001645" y="12644693"/>
                  <a:pt x="990567" y="12553755"/>
                </a:cubicBezTo>
                <a:cubicBezTo>
                  <a:pt x="990567" y="12553755"/>
                  <a:pt x="968577" y="12391554"/>
                  <a:pt x="968577" y="12198600"/>
                </a:cubicBezTo>
                <a:cubicBezTo>
                  <a:pt x="968577" y="12005646"/>
                  <a:pt x="990567" y="11843445"/>
                  <a:pt x="990567" y="11843445"/>
                </a:cubicBezTo>
                <a:cubicBezTo>
                  <a:pt x="1001645" y="11752507"/>
                  <a:pt x="1071750" y="11680914"/>
                  <a:pt x="1162688" y="11670002"/>
                </a:cubicBezTo>
                <a:cubicBezTo>
                  <a:pt x="1162688" y="11670002"/>
                  <a:pt x="1307032" y="11647680"/>
                  <a:pt x="1519662" y="11647680"/>
                </a:cubicBezTo>
                <a:close/>
                <a:moveTo>
                  <a:pt x="1519662" y="11437200"/>
                </a:moveTo>
                <a:cubicBezTo>
                  <a:pt x="1226015" y="11437200"/>
                  <a:pt x="1026446" y="11468119"/>
                  <a:pt x="1026446" y="11468119"/>
                </a:cubicBezTo>
                <a:cubicBezTo>
                  <a:pt x="900786" y="11483330"/>
                  <a:pt x="803896" y="11582205"/>
                  <a:pt x="788685" y="11707865"/>
                </a:cubicBezTo>
                <a:cubicBezTo>
                  <a:pt x="788685" y="11707865"/>
                  <a:pt x="758262" y="11932069"/>
                  <a:pt x="758262" y="12198600"/>
                </a:cubicBezTo>
                <a:cubicBezTo>
                  <a:pt x="758262" y="12465131"/>
                  <a:pt x="788685" y="12689335"/>
                  <a:pt x="788685" y="12689335"/>
                </a:cubicBezTo>
                <a:cubicBezTo>
                  <a:pt x="803896" y="12814995"/>
                  <a:pt x="900786" y="12913870"/>
                  <a:pt x="1026446" y="12929081"/>
                </a:cubicBezTo>
                <a:cubicBezTo>
                  <a:pt x="1026446" y="12929081"/>
                  <a:pt x="1226015" y="12960000"/>
                  <a:pt x="1519662" y="12960000"/>
                </a:cubicBezTo>
                <a:cubicBezTo>
                  <a:pt x="1813310" y="12960000"/>
                  <a:pt x="2012877" y="12929081"/>
                  <a:pt x="2012877" y="12929081"/>
                </a:cubicBezTo>
                <a:cubicBezTo>
                  <a:pt x="2138537" y="12913870"/>
                  <a:pt x="2235427" y="12814995"/>
                  <a:pt x="2250806" y="12689335"/>
                </a:cubicBezTo>
                <a:cubicBezTo>
                  <a:pt x="2250806" y="12689335"/>
                  <a:pt x="2281227" y="12465131"/>
                  <a:pt x="2281227" y="12198600"/>
                </a:cubicBezTo>
                <a:cubicBezTo>
                  <a:pt x="2281227" y="11932069"/>
                  <a:pt x="2250639" y="11708030"/>
                  <a:pt x="2250639" y="11707865"/>
                </a:cubicBezTo>
                <a:cubicBezTo>
                  <a:pt x="2235427" y="11582205"/>
                  <a:pt x="2138537" y="11483165"/>
                  <a:pt x="2012712" y="11468119"/>
                </a:cubicBezTo>
                <a:cubicBezTo>
                  <a:pt x="2012712" y="11468119"/>
                  <a:pt x="1813310" y="11437200"/>
                  <a:pt x="1519662" y="11437200"/>
                </a:cubicBezTo>
                <a:close/>
                <a:moveTo>
                  <a:pt x="0" y="0"/>
                </a:moveTo>
                <a:lnTo>
                  <a:pt x="24403200" y="0"/>
                </a:lnTo>
                <a:lnTo>
                  <a:pt x="24403200" y="13727113"/>
                </a:lnTo>
                <a:lnTo>
                  <a:pt x="0" y="13727113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030706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phic 30">
            <a:extLst>
              <a:ext uri="{FF2B5EF4-FFF2-40B4-BE49-F238E27FC236}">
                <a16:creationId xmlns:a16="http://schemas.microsoft.com/office/drawing/2014/main" id="{8B99EDFA-AB5A-45CE-BE83-6611BF8E149E}"/>
              </a:ext>
            </a:extLst>
          </p:cNvPr>
          <p:cNvGrpSpPr/>
          <p:nvPr userDrawn="1"/>
        </p:nvGrpSpPr>
        <p:grpSpPr>
          <a:xfrm>
            <a:off x="372000" y="5718600"/>
            <a:ext cx="761400" cy="761400"/>
            <a:chOff x="1525200" y="10674424"/>
            <a:chExt cx="1522800" cy="1522800"/>
          </a:xfrm>
        </p:grpSpPr>
        <p:sp>
          <p:nvSpPr>
            <p:cNvPr id="26" name="Vrije vorm: vorm 25">
              <a:extLst>
                <a:ext uri="{FF2B5EF4-FFF2-40B4-BE49-F238E27FC236}">
                  <a16:creationId xmlns:a16="http://schemas.microsoft.com/office/drawing/2014/main" id="{C133DC40-04C2-4FFF-8DD2-9FF5C03C80B0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7" name="Vrije vorm: vorm 26">
              <a:extLst>
                <a:ext uri="{FF2B5EF4-FFF2-40B4-BE49-F238E27FC236}">
                  <a16:creationId xmlns:a16="http://schemas.microsoft.com/office/drawing/2014/main" id="{5E353DDB-AD44-4159-89FE-6C2168D5B8A7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8" name="Vrije vorm: vorm 27">
              <a:extLst>
                <a:ext uri="{FF2B5EF4-FFF2-40B4-BE49-F238E27FC236}">
                  <a16:creationId xmlns:a16="http://schemas.microsoft.com/office/drawing/2014/main" id="{329D0206-B1DB-45FC-9840-4640268BEC28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29" name="Vrije vorm: vorm 28">
              <a:extLst>
                <a:ext uri="{FF2B5EF4-FFF2-40B4-BE49-F238E27FC236}">
                  <a16:creationId xmlns:a16="http://schemas.microsoft.com/office/drawing/2014/main" id="{CE4F1547-23D5-4725-BEE4-EBB654588289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solidFill>
              <a:srgbClr val="FFC421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1432939"/>
            <a:ext cx="11448000" cy="2377662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495110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E495582F-D715-412E-AEA2-FF9DB6987B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noFill/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191279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44A6DB-FC09-479D-A4A0-66B8FA1EE7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" t="22649" r="1374" b="2264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407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le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0BFA1D-CACE-4752-8016-C7B91A246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200"/>
            <a:ext cx="53424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120440B-CF61-46C6-B352-B33F968225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53185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net 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7B0BC2-F3CB-4825-98A5-1CAF6FB80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200" y="757800"/>
            <a:ext cx="4960800" cy="2671200"/>
          </a:xfrm>
        </p:spPr>
        <p:txBody>
          <a:bodyPr lIns="0" tIns="0" rIns="0" bIns="0" anchor="t">
            <a:noAutofit/>
          </a:bodyPr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1DB0E37B-4A25-4E88-A916-4C64454158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4349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19DBCB0-8FB7-4DE5-A8C7-71D2FADFE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49" r="50000" b="22647"/>
          <a:stretch/>
        </p:blipFill>
        <p:spPr>
          <a:xfrm>
            <a:off x="5923723" y="1"/>
            <a:ext cx="6268278" cy="6858000"/>
          </a:xfrm>
          <a:prstGeom prst="rect">
            <a:avLst/>
          </a:prstGeom>
        </p:spPr>
      </p:pic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526185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89C1AD-473E-4FBF-9E69-D64F7794E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800" y="377386"/>
            <a:ext cx="5341200" cy="1906814"/>
          </a:xfrm>
        </p:spPr>
        <p:txBody>
          <a:bodyPr anchor="t">
            <a:no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D7F1E03-A1BF-4CC8-90B3-2D6EDFB4CF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7600" y="2284412"/>
            <a:ext cx="5341938" cy="3052763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rabicPeriod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+mj-lt"/>
              <a:buAutoNum type="alphaLcPeriod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35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1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0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B26A85FE-3454-4033-A0B4-69ABA278FB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13" t="22649" b="22647"/>
          <a:stretch/>
        </p:blipFill>
        <p:spPr>
          <a:xfrm>
            <a:off x="1" y="1"/>
            <a:ext cx="63544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165544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7386"/>
            <a:ext cx="5342400" cy="3433214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215"/>
            <a:ext cx="6095507" cy="685757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7" name="Ondertitel 2">
            <a:extLst>
              <a:ext uri="{FF2B5EF4-FFF2-40B4-BE49-F238E27FC236}">
                <a16:creationId xmlns:a16="http://schemas.microsoft.com/office/drawing/2014/main" id="{A8D0C90E-4AA7-4415-8233-FD1016EB32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6361740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afbeelding 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5341200" cy="3434400"/>
          </a:xfrm>
        </p:spPr>
        <p:txBody>
          <a:bodyPr lIns="0" tIns="0" rIns="0" bIns="0" anchor="b">
            <a:noAutofit/>
          </a:bodyPr>
          <a:lstStyle>
            <a:lvl1pPr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2859" y="381000"/>
            <a:ext cx="5725943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5" name="Ondertitel 2">
            <a:extLst>
              <a:ext uri="{FF2B5EF4-FFF2-40B4-BE49-F238E27FC236}">
                <a16:creationId xmlns:a16="http://schemas.microsoft.com/office/drawing/2014/main" id="{E55DCBF9-700E-4E98-874C-FD539C2B2D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3810600"/>
            <a:ext cx="5342400" cy="7632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57815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E5CEA8-7402-9DE9-4CB4-2030E25734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482102-10FC-35FB-2DCA-59B93C52F9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665D51A-F72E-7462-590A-DA7025D3EA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D972B3-D38E-93B3-6AD1-5853F32FF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AF2753B-06D3-D516-19C1-6B95AD7682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5E8FD4-929C-5CF4-DB9D-137F1019A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8265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81000"/>
            <a:ext cx="5342400" cy="1903200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1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960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381000"/>
            <a:ext cx="5715001" cy="6096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5515973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, tekst en  groter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6"/>
            <a:ext cx="5342400" cy="1906814"/>
          </a:xfr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5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291868C-BC7E-43F3-BA1B-199148C3A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2000" y="2284200"/>
            <a:ext cx="5342400" cy="76320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1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FA1F56BC-28FD-46C6-83BB-F5E9C1AF2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3047400"/>
            <a:ext cx="5342400" cy="2284930"/>
          </a:xfrm>
        </p:spPr>
        <p:txBody>
          <a:bodyPr lIns="0" tIns="0" rIns="0" bIns="0">
            <a:noAutofit/>
          </a:bodyPr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8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4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1" name="Tijdelijke aanduiding voor afbeelding 10">
            <a:extLst>
              <a:ext uri="{FF2B5EF4-FFF2-40B4-BE49-F238E27FC236}">
                <a16:creationId xmlns:a16="http://schemas.microsoft.com/office/drawing/2014/main" id="{FD27A10F-4173-4E22-97C2-45DE9488A6D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2859" y="215"/>
            <a:ext cx="6095507" cy="6857570"/>
          </a:xfr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3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235094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meerdere teksten en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DD933CA0-335B-4694-A6BE-1568C6270D6F}"/>
              </a:ext>
            </a:extLst>
          </p:cNvPr>
          <p:cNvSpPr/>
          <p:nvPr userDrawn="1"/>
        </p:nvSpPr>
        <p:spPr>
          <a:xfrm>
            <a:off x="8962501" y="3429000"/>
            <a:ext cx="2857501" cy="304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6D994C29-431A-486B-B5F4-D3B8A5D0E190}"/>
              </a:ext>
            </a:extLst>
          </p:cNvPr>
          <p:cNvSpPr/>
          <p:nvPr userDrawn="1"/>
        </p:nvSpPr>
        <p:spPr>
          <a:xfrm>
            <a:off x="6096000" y="381000"/>
            <a:ext cx="2866500" cy="3048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37B1B7-6218-4D51-9A72-2B67D4E28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1" y="376200"/>
            <a:ext cx="4959600" cy="3052800"/>
          </a:xfrm>
        </p:spPr>
        <p:txBody>
          <a:bodyPr lIns="0" tIns="0" rIns="0" bIns="0" anchor="b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F503611F-C1CD-47EE-9F8B-91C5B6089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662DD212-BC4A-4628-9548-59E7CA23D7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62501" y="381000"/>
            <a:ext cx="2857501" cy="30480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168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DB69AD7-6F8F-47C0-A8DC-CDB5C2D8A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77600" y="7578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B8334719-323A-4A77-9C0C-B6A93A846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3426443"/>
            <a:ext cx="2866499" cy="3048001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4"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DF9FACE9-AEE4-4EE0-92D4-945E41ABCB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494" y="3810600"/>
            <a:ext cx="2133584" cy="22896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2100"/>
              </a:spcBef>
              <a:buNone/>
              <a:defRPr sz="15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52773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03E6879-9667-4756-9C12-D9BE9C5DEE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2947319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ge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D15FFF-FD9A-40D0-B3C9-690669C55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00" y="376200"/>
            <a:ext cx="11446800" cy="1144800"/>
          </a:xfrm>
          <a:solidFill>
            <a:schemeClr val="tx2"/>
          </a:solidFill>
        </p:spPr>
        <p:txBody>
          <a:bodyPr lIns="684000" tIns="0" rIns="684000" bIns="0">
            <a:noAutofit/>
          </a:bodyPr>
          <a:lstStyle>
            <a:lvl1pPr marL="0" indent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61814F4-4C7B-4C5E-934E-C6E6052B2D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16D7516-E31D-4566-8EA3-26F08EC1B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4AA140B-01DE-4F9F-AB45-06FBEC60F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 sz="8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E4ACE532-51AA-4A77-83A7-A721BF6F0C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28928"/>
          </a:xfrm>
        </p:spPr>
        <p:txBody>
          <a:bodyPr lIns="0" tIns="0" rIns="0" bIns="0"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4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204670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352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616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72000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61170011-B7D8-4497-86A6-E99ABDA6AB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731904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titel en tekst zonder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24AA9-5B7A-4728-B8AD-13401B1D1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000" y="377387"/>
            <a:ext cx="11448000" cy="1143615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ct val="8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91F510D-DEAD-4759-9C5E-B9FBDC9E61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12000" y="6100200"/>
            <a:ext cx="1144800" cy="378238"/>
          </a:xfrm>
        </p:spPr>
        <p:txBody>
          <a:bodyPr lIns="0" tIns="0" rIns="0" bIns="0"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45F907-C870-44D6-A0EB-0E571B983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16800" y="6100200"/>
            <a:ext cx="8013600" cy="378238"/>
          </a:xfrm>
        </p:spPr>
        <p:txBody>
          <a:bodyPr anchor="b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algn="r"/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7841712-11D4-4697-801A-3ECB1B5A2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38401" y="6100200"/>
            <a:ext cx="381600" cy="378238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3A06038-0966-447D-8975-C800066187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2000" y="1902600"/>
            <a:ext cx="11448000" cy="3434400"/>
          </a:xfrm>
        </p:spPr>
        <p:txBody>
          <a:bodyPr/>
          <a:lstStyle>
            <a:lvl1pPr marL="3816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950">
                <a:latin typeface="+mn-lt"/>
              </a:defRPr>
            </a:lvl1pPr>
            <a:lvl2pPr marL="7632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2pPr>
            <a:lvl3pPr marL="11448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600">
                <a:latin typeface="+mn-lt"/>
              </a:defRPr>
            </a:lvl3pPr>
            <a:lvl4pPr marL="15264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4pPr>
            <a:lvl5pPr marL="1908000" indent="-381600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tx1"/>
              </a:buClr>
              <a:buFont typeface="Telenet Albra" pitchFamily="50" charset="0"/>
              <a:buChar char="•"/>
              <a:defRPr sz="12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205299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48D98A-7D75-445A-9974-322C437EDF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1200" y="3810600"/>
            <a:ext cx="4960800" cy="2679866"/>
          </a:xfrm>
        </p:spPr>
        <p:txBody>
          <a:bodyPr lIns="0" tIns="0" rIns="0" bIns="0" anchor="t"/>
          <a:lstStyle>
            <a:lvl1pPr>
              <a:defRPr sz="341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623315A2-9A22-45A0-9C6B-B346BA0A8D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859" y="381000"/>
            <a:ext cx="5718143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4DA70030-012D-4866-A7CD-61CF7F04B561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233CC50C-5D49-482B-8C95-4D67F7CC835F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D103D952-AAF7-4967-AF63-9478161E1464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0B409163-C635-4302-B99B-6C85597BADDB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42D20BCE-CE55-4A7A-B351-43E2964043BD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26841977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53625ADC-D655-4729-998F-A693E5AEC61F}"/>
              </a:ext>
            </a:extLst>
          </p:cNvPr>
          <p:cNvSpPr/>
          <p:nvPr userDrawn="1"/>
        </p:nvSpPr>
        <p:spPr>
          <a:xfrm>
            <a:off x="378435" y="376200"/>
            <a:ext cx="5715000" cy="6104414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93C473-47D3-4FB7-983B-A0927A2DD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00" y="758394"/>
            <a:ext cx="3816000" cy="2670607"/>
          </a:xfrm>
        </p:spPr>
        <p:txBody>
          <a:bodyPr anchor="t"/>
          <a:lstStyle>
            <a:lvl1pPr>
              <a:defRPr sz="29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1A17BE73-6F63-4430-AFD0-7D83203FB6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24800" y="3051607"/>
            <a:ext cx="5724000" cy="30480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78EF2DB6-7351-4DE7-8DBF-76C27EF850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40721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g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">
            <a:extLst>
              <a:ext uri="{FF2B5EF4-FFF2-40B4-BE49-F238E27FC236}">
                <a16:creationId xmlns:a16="http://schemas.microsoft.com/office/drawing/2014/main" id="{5626AB80-C44F-49BC-84F7-9991D6BC9E73}"/>
              </a:ext>
            </a:extLst>
          </p:cNvPr>
          <p:cNvSpPr/>
          <p:nvPr userDrawn="1"/>
        </p:nvSpPr>
        <p:spPr>
          <a:xfrm>
            <a:off x="378436" y="761986"/>
            <a:ext cx="6099507" cy="3810078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8C6F28-EE1B-4187-815A-7752CC99A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940" y="1139401"/>
            <a:ext cx="4951460" cy="3052800"/>
          </a:xfrm>
        </p:spPr>
        <p:txBody>
          <a:bodyPr lIns="0" tIns="0" rIns="0" bIns="0"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6E8F6404-5496-48F9-8930-F856AB28F8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76200"/>
            <a:ext cx="5722800" cy="6104414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8382128 h 12192000"/>
              <a:gd name="connsiteX5" fmla="*/ 770167 w 11430001"/>
              <a:gd name="connsiteY5" fmla="*/ 8382128 h 12192000"/>
              <a:gd name="connsiteX6" fmla="*/ 770167 w 11430001"/>
              <a:gd name="connsiteY6" fmla="*/ 761972 h 12192000"/>
              <a:gd name="connsiteX7" fmla="*/ 0 w 11430001"/>
              <a:gd name="connsiteY7" fmla="*/ 7619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8382128"/>
                </a:lnTo>
                <a:lnTo>
                  <a:pt x="770167" y="8382128"/>
                </a:lnTo>
                <a:lnTo>
                  <a:pt x="770167" y="761972"/>
                </a:lnTo>
                <a:lnTo>
                  <a:pt x="0" y="761972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  <p:pic>
        <p:nvPicPr>
          <p:cNvPr id="11" name="Image" descr="Image">
            <a:extLst>
              <a:ext uri="{FF2B5EF4-FFF2-40B4-BE49-F238E27FC236}">
                <a16:creationId xmlns:a16="http://schemas.microsoft.com/office/drawing/2014/main" id="{3BFF996F-6043-4719-A6BC-DF82245F3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591003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6BEA4-508A-A8CD-DDF7-512452017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9D7BAD-C094-DD2B-5E9F-F8F768FE56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93D28-2395-5886-5695-14F0987A81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686234-3DEC-84A4-ACF2-6435982456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17DA4D-8B88-6A26-7370-CC628AF444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11C469-915F-D401-78E6-83DA5DE75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3477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dden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">
            <a:extLst>
              <a:ext uri="{FF2B5EF4-FFF2-40B4-BE49-F238E27FC236}">
                <a16:creationId xmlns:a16="http://schemas.microsoft.com/office/drawing/2014/main" id="{DE0963D1-A8B0-4267-B848-56C512DB65C6}"/>
              </a:ext>
            </a:extLst>
          </p:cNvPr>
          <p:cNvSpPr/>
          <p:nvPr userDrawn="1"/>
        </p:nvSpPr>
        <p:spPr>
          <a:xfrm>
            <a:off x="373202" y="1521000"/>
            <a:ext cx="6104741" cy="3816000"/>
          </a:xfrm>
          <a:prstGeom prst="rect">
            <a:avLst/>
          </a:prstGeom>
          <a:solidFill>
            <a:srgbClr val="FFC421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207716">
              <a:lnSpc>
                <a:spcPct val="120000"/>
              </a:lnSpc>
              <a:spcBef>
                <a:spcPts val="0"/>
              </a:spcBef>
              <a:defRPr sz="1800" spc="-36">
                <a:solidFill>
                  <a:srgbClr val="FFFFFF"/>
                </a:solidFill>
                <a:latin typeface="+mn-lt"/>
                <a:ea typeface="+mn-ea"/>
                <a:cs typeface="+mn-cs"/>
                <a:sym typeface="Albra Grotesk Bold"/>
              </a:defRPr>
            </a:pPr>
            <a:endParaRPr sz="9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DF7E18E-F7B2-4FFE-B4EB-EB4BD2F1F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599" y="1902600"/>
            <a:ext cx="4960801" cy="3052800"/>
          </a:xfrm>
        </p:spPr>
        <p:txBody>
          <a:bodyPr anchor="t"/>
          <a:lstStyle>
            <a:lvl1pPr>
              <a:defRPr sz="391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2303892-4A49-4880-8ABC-803ABEAD50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afbeelding 9">
            <a:extLst>
              <a:ext uri="{FF2B5EF4-FFF2-40B4-BE49-F238E27FC236}">
                <a16:creationId xmlns:a16="http://schemas.microsoft.com/office/drawing/2014/main" id="{A0D376F1-715D-4AA5-9E29-24660E8C5E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9144" y="381000"/>
            <a:ext cx="5719656" cy="6100800"/>
          </a:xfrm>
          <a:custGeom>
            <a:avLst/>
            <a:gdLst>
              <a:gd name="connsiteX0" fmla="*/ 0 w 11430001"/>
              <a:gd name="connsiteY0" fmla="*/ 0 h 12192000"/>
              <a:gd name="connsiteX1" fmla="*/ 11430001 w 11430001"/>
              <a:gd name="connsiteY1" fmla="*/ 0 h 12192000"/>
              <a:gd name="connsiteX2" fmla="*/ 11430001 w 11430001"/>
              <a:gd name="connsiteY2" fmla="*/ 12192000 h 12192000"/>
              <a:gd name="connsiteX3" fmla="*/ 0 w 11430001"/>
              <a:gd name="connsiteY3" fmla="*/ 12192000 h 12192000"/>
              <a:gd name="connsiteX4" fmla="*/ 0 w 11430001"/>
              <a:gd name="connsiteY4" fmla="*/ 9899728 h 12192000"/>
              <a:gd name="connsiteX5" fmla="*/ 770167 w 11430001"/>
              <a:gd name="connsiteY5" fmla="*/ 9899728 h 12192000"/>
              <a:gd name="connsiteX6" fmla="*/ 770167 w 11430001"/>
              <a:gd name="connsiteY6" fmla="*/ 2279572 h 12192000"/>
              <a:gd name="connsiteX7" fmla="*/ 0 w 11430001"/>
              <a:gd name="connsiteY7" fmla="*/ 2279572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30001" h="12192000">
                <a:moveTo>
                  <a:pt x="0" y="0"/>
                </a:moveTo>
                <a:lnTo>
                  <a:pt x="11430001" y="0"/>
                </a:lnTo>
                <a:lnTo>
                  <a:pt x="11430001" y="12192000"/>
                </a:lnTo>
                <a:lnTo>
                  <a:pt x="0" y="12192000"/>
                </a:lnTo>
                <a:lnTo>
                  <a:pt x="0" y="9899728"/>
                </a:lnTo>
                <a:lnTo>
                  <a:pt x="770167" y="9899728"/>
                </a:lnTo>
                <a:lnTo>
                  <a:pt x="770167" y="2279572"/>
                </a:lnTo>
                <a:lnTo>
                  <a:pt x="0" y="2279572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79"/>
            </a:stretch>
          </a:blipFill>
        </p:spPr>
        <p:txBody>
          <a:bodyPr wrap="square">
            <a:noAutofit/>
          </a:bodyPr>
          <a:lstStyle>
            <a:lvl1pPr>
              <a:defRPr sz="1950"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4938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EA3557A8-C1AB-424C-B8DE-5A231058C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00" y="5719786"/>
            <a:ext cx="762000" cy="7620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1235721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EF0A4254-BC89-49CA-92E8-B9D1374DCC34}"/>
              </a:ext>
            </a:extLst>
          </p:cNvPr>
          <p:cNvSpPr/>
          <p:nvPr userDrawn="1"/>
        </p:nvSpPr>
        <p:spPr>
          <a:xfrm>
            <a:off x="371992" y="378000"/>
            <a:ext cx="11448017" cy="6103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90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9299" y="608983"/>
            <a:ext cx="10729103" cy="4728018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5214467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ody copy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9D98DDC6-BBC7-4C0C-8E3A-C7350E86F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2000" y="376201"/>
            <a:ext cx="11448000" cy="4960800"/>
          </a:xfrm>
        </p:spPr>
        <p:txBody>
          <a:bodyPr/>
          <a:lstStyle>
            <a:lvl1pPr marL="0" indent="0">
              <a:buFontTx/>
              <a:buNone/>
              <a:defRPr sz="1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aphic 30">
            <a:extLst>
              <a:ext uri="{FF2B5EF4-FFF2-40B4-BE49-F238E27FC236}">
                <a16:creationId xmlns:a16="http://schemas.microsoft.com/office/drawing/2014/main" id="{F52ABEB5-455B-46A0-96BA-683754D14536}"/>
              </a:ext>
            </a:extLst>
          </p:cNvPr>
          <p:cNvGrpSpPr/>
          <p:nvPr userDrawn="1"/>
        </p:nvGrpSpPr>
        <p:grpSpPr>
          <a:xfrm>
            <a:off x="372000" y="57204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5" name="Vrije vorm: vorm 4">
              <a:extLst>
                <a:ext uri="{FF2B5EF4-FFF2-40B4-BE49-F238E27FC236}">
                  <a16:creationId xmlns:a16="http://schemas.microsoft.com/office/drawing/2014/main" id="{52C0CBBC-6A01-41E4-B940-FA0A96DDE5DC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6" name="Vrije vorm: vorm 5">
              <a:extLst>
                <a:ext uri="{FF2B5EF4-FFF2-40B4-BE49-F238E27FC236}">
                  <a16:creationId xmlns:a16="http://schemas.microsoft.com/office/drawing/2014/main" id="{5B1828D7-8BE8-498A-AB27-A6C5F9BE88E8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AC748034-F721-49A8-A444-0AD077164F2E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B96C14-6F8E-41BA-86F6-F25EF7BA5ABA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16293220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1" y="757801"/>
            <a:ext cx="4360746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Thank</a:t>
            </a:r>
            <a:endParaRPr lang="nl-BE" sz="9950">
              <a:latin typeface="+mj-lt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0" y="1902601"/>
            <a:ext cx="301101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solidFill>
                  <a:schemeClr val="tx2"/>
                </a:solidFill>
                <a:latin typeface="+mj-lt"/>
              </a:rPr>
              <a:t>You</a:t>
            </a:r>
            <a:r>
              <a:rPr lang="nl-BE" sz="9950">
                <a:solidFill>
                  <a:schemeClr val="tx2"/>
                </a:solidFill>
                <a:latin typeface="+mj-lt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9284171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?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" descr="Image">
            <a:extLst>
              <a:ext uri="{FF2B5EF4-FFF2-40B4-BE49-F238E27FC236}">
                <a16:creationId xmlns:a16="http://schemas.microsoft.com/office/drawing/2014/main" id="{ED6E4404-6F9D-4ABF-B161-259021315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9536C579-280D-4AAB-81FB-D1CC02825E8E}"/>
              </a:ext>
            </a:extLst>
          </p:cNvPr>
          <p:cNvSpPr txBox="1"/>
          <p:nvPr userDrawn="1"/>
        </p:nvSpPr>
        <p:spPr>
          <a:xfrm>
            <a:off x="753600" y="757801"/>
            <a:ext cx="7795404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 err="1">
                <a:latin typeface="+mj-lt"/>
              </a:rPr>
              <a:t>Questions</a:t>
            </a:r>
            <a:r>
              <a:rPr lang="nl-BE" sz="9950"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5636184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ijdelijke aanduiding voor tekst 3">
            <a:extLst>
              <a:ext uri="{FF2B5EF4-FFF2-40B4-BE49-F238E27FC236}">
                <a16:creationId xmlns:a16="http://schemas.microsoft.com/office/drawing/2014/main" id="{89769BE5-5377-4770-88C5-C9F4B30D9B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A046EE8F-49B1-40D3-AE40-5C5F14A2B2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651929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 Morning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4C1BD3F7-6D49-494E-9C36-77DF0D38A6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00" y="908777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Good</a:t>
            </a:r>
            <a:endParaRPr lang="nl-NL"/>
          </a:p>
        </p:txBody>
      </p:sp>
      <p:sp>
        <p:nvSpPr>
          <p:cNvPr id="12" name="Tijdelijke aanduiding voor tekst 3">
            <a:extLst>
              <a:ext uri="{FF2B5EF4-FFF2-40B4-BE49-F238E27FC236}">
                <a16:creationId xmlns:a16="http://schemas.microsoft.com/office/drawing/2014/main" id="{E85F3072-E90F-468C-8440-0677F5FDEE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3600" y="2053346"/>
            <a:ext cx="11066400" cy="1144569"/>
          </a:xfrm>
        </p:spPr>
        <p:txBody>
          <a:bodyPr/>
          <a:lstStyle>
            <a:lvl1pPr marL="0" indent="0">
              <a:buFontTx/>
              <a:buNone/>
              <a:defRPr lang="nl-NL" sz="9950" kern="1200" dirty="0" smtClean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nl-NL" err="1"/>
              <a:t>Morn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32407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32F2F489-B5B5-40DB-B622-BF67FE43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8000" y="5718600"/>
            <a:ext cx="762000" cy="762014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tx2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331730148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 kle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EE874126-41BC-4C6D-BE43-8AEE48B6834E}"/>
              </a:ext>
            </a:extLst>
          </p:cNvPr>
          <p:cNvSpPr txBox="1"/>
          <p:nvPr userDrawn="1"/>
        </p:nvSpPr>
        <p:spPr>
          <a:xfrm>
            <a:off x="753600" y="757801"/>
            <a:ext cx="4549707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latin typeface="+mj-lt"/>
              </a:rPr>
              <a:t>Coffee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7972CBC6-65D7-484E-89CA-ACB2384E4744}"/>
              </a:ext>
            </a:extLst>
          </p:cNvPr>
          <p:cNvSpPr txBox="1"/>
          <p:nvPr userDrawn="1"/>
        </p:nvSpPr>
        <p:spPr>
          <a:xfrm>
            <a:off x="753601" y="1902601"/>
            <a:ext cx="4132285" cy="15311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BE" sz="9950">
                <a:solidFill>
                  <a:schemeClr val="bg2"/>
                </a:solidFill>
                <a:latin typeface="+mj-lt"/>
              </a:rPr>
              <a:t>Break</a:t>
            </a:r>
          </a:p>
        </p:txBody>
      </p:sp>
      <p:grpSp>
        <p:nvGrpSpPr>
          <p:cNvPr id="5" name="Graphic 30">
            <a:extLst>
              <a:ext uri="{FF2B5EF4-FFF2-40B4-BE49-F238E27FC236}">
                <a16:creationId xmlns:a16="http://schemas.microsoft.com/office/drawing/2014/main" id="{703214B8-5979-4A50-91F1-90770C7D6185}"/>
              </a:ext>
            </a:extLst>
          </p:cNvPr>
          <p:cNvGrpSpPr/>
          <p:nvPr userDrawn="1"/>
        </p:nvGrpSpPr>
        <p:grpSpPr>
          <a:xfrm>
            <a:off x="11058600" y="57186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7" name="Vrije vorm: vorm 6">
              <a:extLst>
                <a:ext uri="{FF2B5EF4-FFF2-40B4-BE49-F238E27FC236}">
                  <a16:creationId xmlns:a16="http://schemas.microsoft.com/office/drawing/2014/main" id="{0DE62B94-D638-48A5-92D4-7FC1778DB6B5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8" name="Vrije vorm: vorm 7">
              <a:extLst>
                <a:ext uri="{FF2B5EF4-FFF2-40B4-BE49-F238E27FC236}">
                  <a16:creationId xmlns:a16="http://schemas.microsoft.com/office/drawing/2014/main" id="{8A8EAF2C-8676-4EAD-8006-F5D6888436DD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9" name="Vrije vorm: vorm 8">
              <a:extLst>
                <a:ext uri="{FF2B5EF4-FFF2-40B4-BE49-F238E27FC236}">
                  <a16:creationId xmlns:a16="http://schemas.microsoft.com/office/drawing/2014/main" id="{E40A712E-A348-4128-9519-2E54E996F5F3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0" name="Vrije vorm: vorm 9">
              <a:extLst>
                <a:ext uri="{FF2B5EF4-FFF2-40B4-BE49-F238E27FC236}">
                  <a16:creationId xmlns:a16="http://schemas.microsoft.com/office/drawing/2014/main" id="{09DB547C-C253-4C50-9A92-FC24CD3ED65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</p:spTree>
    <p:extLst>
      <p:ext uri="{BB962C8B-B14F-4D97-AF65-F5344CB8AC3E}">
        <p14:creationId xmlns:p14="http://schemas.microsoft.com/office/powerpoint/2010/main" val="549833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oleObject" Target="../embeddings/oleObject10.bin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9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33.xml"/><Relationship Id="rId42" Type="http://schemas.openxmlformats.org/officeDocument/2006/relationships/oleObject" Target="../embeddings/oleObject14.bin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41" Type="http://schemas.openxmlformats.org/officeDocument/2006/relationships/tags" Target="../tags/tag15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37" Type="http://schemas.openxmlformats.org/officeDocument/2006/relationships/slideLayout" Target="../slideLayouts/slideLayout136.xml"/><Relationship Id="rId40" Type="http://schemas.openxmlformats.org/officeDocument/2006/relationships/theme" Target="../theme/theme4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slideLayout" Target="../slideLayouts/slideLayout134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38" Type="http://schemas.openxmlformats.org/officeDocument/2006/relationships/slideLayout" Target="../slideLayouts/slideLayout13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26" Type="http://schemas.openxmlformats.org/officeDocument/2006/relationships/slideLayout" Target="../slideLayouts/slideLayout164.xml"/><Relationship Id="rId39" Type="http://schemas.openxmlformats.org/officeDocument/2006/relationships/tags" Target="../tags/tag20.xml"/><Relationship Id="rId21" Type="http://schemas.openxmlformats.org/officeDocument/2006/relationships/slideLayout" Target="../slideLayouts/slideLayout159.xml"/><Relationship Id="rId34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58.xml"/><Relationship Id="rId29" Type="http://schemas.openxmlformats.org/officeDocument/2006/relationships/slideLayout" Target="../slideLayouts/slideLayout167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24" Type="http://schemas.openxmlformats.org/officeDocument/2006/relationships/slideLayout" Target="../slideLayouts/slideLayout162.xml"/><Relationship Id="rId32" Type="http://schemas.openxmlformats.org/officeDocument/2006/relationships/slideLayout" Target="../slideLayouts/slideLayout170.xml"/><Relationship Id="rId37" Type="http://schemas.openxmlformats.org/officeDocument/2006/relationships/slideLayout" Target="../slideLayouts/slideLayout175.xml"/><Relationship Id="rId40" Type="http://schemas.openxmlformats.org/officeDocument/2006/relationships/oleObject" Target="../embeddings/oleObject19.bin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23" Type="http://schemas.openxmlformats.org/officeDocument/2006/relationships/slideLayout" Target="../slideLayouts/slideLayout161.xml"/><Relationship Id="rId28" Type="http://schemas.openxmlformats.org/officeDocument/2006/relationships/slideLayout" Target="../slideLayouts/slideLayout166.xml"/><Relationship Id="rId36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48.xml"/><Relationship Id="rId19" Type="http://schemas.openxmlformats.org/officeDocument/2006/relationships/slideLayout" Target="../slideLayouts/slideLayout157.xml"/><Relationship Id="rId31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Relationship Id="rId22" Type="http://schemas.openxmlformats.org/officeDocument/2006/relationships/slideLayout" Target="../slideLayouts/slideLayout160.xml"/><Relationship Id="rId27" Type="http://schemas.openxmlformats.org/officeDocument/2006/relationships/slideLayout" Target="../slideLayouts/slideLayout165.xml"/><Relationship Id="rId30" Type="http://schemas.openxmlformats.org/officeDocument/2006/relationships/slideLayout" Target="../slideLayouts/slideLayout168.xml"/><Relationship Id="rId35" Type="http://schemas.openxmlformats.org/officeDocument/2006/relationships/slideLayout" Target="../slideLayouts/slideLayout173.xml"/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5" Type="http://schemas.openxmlformats.org/officeDocument/2006/relationships/slideLayout" Target="../slideLayouts/slideLayout163.xml"/><Relationship Id="rId33" Type="http://schemas.openxmlformats.org/officeDocument/2006/relationships/slideLayout" Target="../slideLayouts/slideLayout171.xml"/><Relationship Id="rId38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8.xml"/><Relationship Id="rId18" Type="http://schemas.openxmlformats.org/officeDocument/2006/relationships/slideLayout" Target="../slideLayouts/slideLayout193.xml"/><Relationship Id="rId26" Type="http://schemas.openxmlformats.org/officeDocument/2006/relationships/slideLayout" Target="../slideLayouts/slideLayout201.xml"/><Relationship Id="rId39" Type="http://schemas.openxmlformats.org/officeDocument/2006/relationships/tags" Target="../tags/tag24.xml"/><Relationship Id="rId21" Type="http://schemas.openxmlformats.org/officeDocument/2006/relationships/slideLayout" Target="../slideLayouts/slideLayout196.xml"/><Relationship Id="rId34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7.xml"/><Relationship Id="rId16" Type="http://schemas.openxmlformats.org/officeDocument/2006/relationships/slideLayout" Target="../slideLayouts/slideLayout191.xml"/><Relationship Id="rId20" Type="http://schemas.openxmlformats.org/officeDocument/2006/relationships/slideLayout" Target="../slideLayouts/slideLayout195.xml"/><Relationship Id="rId29" Type="http://schemas.openxmlformats.org/officeDocument/2006/relationships/slideLayout" Target="../slideLayouts/slideLayout20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24" Type="http://schemas.openxmlformats.org/officeDocument/2006/relationships/slideLayout" Target="../slideLayouts/slideLayout199.xml"/><Relationship Id="rId32" Type="http://schemas.openxmlformats.org/officeDocument/2006/relationships/slideLayout" Target="../slideLayouts/slideLayout207.xml"/><Relationship Id="rId37" Type="http://schemas.openxmlformats.org/officeDocument/2006/relationships/slideLayout" Target="../slideLayouts/slideLayout212.xml"/><Relationship Id="rId40" Type="http://schemas.openxmlformats.org/officeDocument/2006/relationships/oleObject" Target="../embeddings/oleObject23.bin"/><Relationship Id="rId5" Type="http://schemas.openxmlformats.org/officeDocument/2006/relationships/slideLayout" Target="../slideLayouts/slideLayout180.xml"/><Relationship Id="rId15" Type="http://schemas.openxmlformats.org/officeDocument/2006/relationships/slideLayout" Target="../slideLayouts/slideLayout190.xml"/><Relationship Id="rId23" Type="http://schemas.openxmlformats.org/officeDocument/2006/relationships/slideLayout" Target="../slideLayouts/slideLayout198.xml"/><Relationship Id="rId28" Type="http://schemas.openxmlformats.org/officeDocument/2006/relationships/slideLayout" Target="../slideLayouts/slideLayout203.xml"/><Relationship Id="rId36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185.xml"/><Relationship Id="rId19" Type="http://schemas.openxmlformats.org/officeDocument/2006/relationships/slideLayout" Target="../slideLayouts/slideLayout194.xml"/><Relationship Id="rId31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slideLayout" Target="../slideLayouts/slideLayout189.xml"/><Relationship Id="rId22" Type="http://schemas.openxmlformats.org/officeDocument/2006/relationships/slideLayout" Target="../slideLayouts/slideLayout197.xml"/><Relationship Id="rId27" Type="http://schemas.openxmlformats.org/officeDocument/2006/relationships/slideLayout" Target="../slideLayouts/slideLayout202.xml"/><Relationship Id="rId30" Type="http://schemas.openxmlformats.org/officeDocument/2006/relationships/slideLayout" Target="../slideLayouts/slideLayout205.xml"/><Relationship Id="rId35" Type="http://schemas.openxmlformats.org/officeDocument/2006/relationships/slideLayout" Target="../slideLayouts/slideLayout210.xml"/><Relationship Id="rId8" Type="http://schemas.openxmlformats.org/officeDocument/2006/relationships/slideLayout" Target="../slideLayouts/slideLayout183.xml"/><Relationship Id="rId3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7.xml"/><Relationship Id="rId17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00.xml"/><Relationship Id="rId33" Type="http://schemas.openxmlformats.org/officeDocument/2006/relationships/slideLayout" Target="../slideLayouts/slideLayout208.xml"/><Relationship Id="rId38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5.xml"/><Relationship Id="rId18" Type="http://schemas.openxmlformats.org/officeDocument/2006/relationships/slideLayout" Target="../slideLayouts/slideLayout230.xml"/><Relationship Id="rId26" Type="http://schemas.openxmlformats.org/officeDocument/2006/relationships/slideLayout" Target="../slideLayouts/slideLayout238.xml"/><Relationship Id="rId39" Type="http://schemas.openxmlformats.org/officeDocument/2006/relationships/tags" Target="../tags/tag27.xml"/><Relationship Id="rId21" Type="http://schemas.openxmlformats.org/officeDocument/2006/relationships/slideLayout" Target="../slideLayouts/slideLayout233.xml"/><Relationship Id="rId34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slideLayout" Target="../slideLayouts/slideLayout232.xml"/><Relationship Id="rId29" Type="http://schemas.openxmlformats.org/officeDocument/2006/relationships/slideLayout" Target="../slideLayouts/slideLayout24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24" Type="http://schemas.openxmlformats.org/officeDocument/2006/relationships/slideLayout" Target="../slideLayouts/slideLayout236.xml"/><Relationship Id="rId32" Type="http://schemas.openxmlformats.org/officeDocument/2006/relationships/slideLayout" Target="../slideLayouts/slideLayout244.xml"/><Relationship Id="rId37" Type="http://schemas.openxmlformats.org/officeDocument/2006/relationships/slideLayout" Target="../slideLayouts/slideLayout249.xml"/><Relationship Id="rId40" Type="http://schemas.openxmlformats.org/officeDocument/2006/relationships/oleObject" Target="../embeddings/oleObject26.bin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23" Type="http://schemas.openxmlformats.org/officeDocument/2006/relationships/slideLayout" Target="../slideLayouts/slideLayout235.xml"/><Relationship Id="rId28" Type="http://schemas.openxmlformats.org/officeDocument/2006/relationships/slideLayout" Target="../slideLayouts/slideLayout240.xml"/><Relationship Id="rId36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22.xml"/><Relationship Id="rId19" Type="http://schemas.openxmlformats.org/officeDocument/2006/relationships/slideLayout" Target="../slideLayouts/slideLayout231.xml"/><Relationship Id="rId31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Relationship Id="rId22" Type="http://schemas.openxmlformats.org/officeDocument/2006/relationships/slideLayout" Target="../slideLayouts/slideLayout234.xml"/><Relationship Id="rId27" Type="http://schemas.openxmlformats.org/officeDocument/2006/relationships/slideLayout" Target="../slideLayouts/slideLayout239.xml"/><Relationship Id="rId30" Type="http://schemas.openxmlformats.org/officeDocument/2006/relationships/slideLayout" Target="../slideLayouts/slideLayout242.xml"/><Relationship Id="rId35" Type="http://schemas.openxmlformats.org/officeDocument/2006/relationships/slideLayout" Target="../slideLayouts/slideLayout247.xml"/><Relationship Id="rId8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215.xml"/><Relationship Id="rId12" Type="http://schemas.openxmlformats.org/officeDocument/2006/relationships/slideLayout" Target="../slideLayouts/slideLayout224.xml"/><Relationship Id="rId17" Type="http://schemas.openxmlformats.org/officeDocument/2006/relationships/slideLayout" Target="../slideLayouts/slideLayout229.xml"/><Relationship Id="rId25" Type="http://schemas.openxmlformats.org/officeDocument/2006/relationships/slideLayout" Target="../slideLayouts/slideLayout237.xml"/><Relationship Id="rId33" Type="http://schemas.openxmlformats.org/officeDocument/2006/relationships/slideLayout" Target="../slideLayouts/slideLayout245.xml"/><Relationship Id="rId38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2.xml"/><Relationship Id="rId18" Type="http://schemas.openxmlformats.org/officeDocument/2006/relationships/slideLayout" Target="../slideLayouts/slideLayout267.xml"/><Relationship Id="rId26" Type="http://schemas.openxmlformats.org/officeDocument/2006/relationships/slideLayout" Target="../slideLayouts/slideLayout275.xml"/><Relationship Id="rId39" Type="http://schemas.openxmlformats.org/officeDocument/2006/relationships/slideLayout" Target="../slideLayouts/slideLayout288.xml"/><Relationship Id="rId21" Type="http://schemas.openxmlformats.org/officeDocument/2006/relationships/slideLayout" Target="../slideLayouts/slideLayout270.xml"/><Relationship Id="rId34" Type="http://schemas.openxmlformats.org/officeDocument/2006/relationships/slideLayout" Target="../slideLayouts/slideLayout283.xml"/><Relationship Id="rId42" Type="http://schemas.openxmlformats.org/officeDocument/2006/relationships/slideLayout" Target="../slideLayouts/slideLayout291.xml"/><Relationship Id="rId47" Type="http://schemas.openxmlformats.org/officeDocument/2006/relationships/oleObject" Target="../embeddings/oleObject28.bin"/><Relationship Id="rId7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251.xml"/><Relationship Id="rId16" Type="http://schemas.openxmlformats.org/officeDocument/2006/relationships/slideLayout" Target="../slideLayouts/slideLayout265.xml"/><Relationship Id="rId29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50.xml"/><Relationship Id="rId6" Type="http://schemas.openxmlformats.org/officeDocument/2006/relationships/slideLayout" Target="../slideLayouts/slideLayout255.xml"/><Relationship Id="rId11" Type="http://schemas.openxmlformats.org/officeDocument/2006/relationships/slideLayout" Target="../slideLayouts/slideLayout260.xml"/><Relationship Id="rId24" Type="http://schemas.openxmlformats.org/officeDocument/2006/relationships/slideLayout" Target="../slideLayouts/slideLayout273.xml"/><Relationship Id="rId32" Type="http://schemas.openxmlformats.org/officeDocument/2006/relationships/slideLayout" Target="../slideLayouts/slideLayout281.xml"/><Relationship Id="rId37" Type="http://schemas.openxmlformats.org/officeDocument/2006/relationships/slideLayout" Target="../slideLayouts/slideLayout286.xml"/><Relationship Id="rId40" Type="http://schemas.openxmlformats.org/officeDocument/2006/relationships/slideLayout" Target="../slideLayouts/slideLayout289.xml"/><Relationship Id="rId45" Type="http://schemas.openxmlformats.org/officeDocument/2006/relationships/theme" Target="../theme/theme8.xml"/><Relationship Id="rId5" Type="http://schemas.openxmlformats.org/officeDocument/2006/relationships/slideLayout" Target="../slideLayouts/slideLayout254.xml"/><Relationship Id="rId15" Type="http://schemas.openxmlformats.org/officeDocument/2006/relationships/slideLayout" Target="../slideLayouts/slideLayout264.xml"/><Relationship Id="rId23" Type="http://schemas.openxmlformats.org/officeDocument/2006/relationships/slideLayout" Target="../slideLayouts/slideLayout272.xml"/><Relationship Id="rId28" Type="http://schemas.openxmlformats.org/officeDocument/2006/relationships/slideLayout" Target="../slideLayouts/slideLayout277.xml"/><Relationship Id="rId36" Type="http://schemas.openxmlformats.org/officeDocument/2006/relationships/slideLayout" Target="../slideLayouts/slideLayout285.xml"/><Relationship Id="rId10" Type="http://schemas.openxmlformats.org/officeDocument/2006/relationships/slideLayout" Target="../slideLayouts/slideLayout259.xml"/><Relationship Id="rId19" Type="http://schemas.openxmlformats.org/officeDocument/2006/relationships/slideLayout" Target="../slideLayouts/slideLayout268.xml"/><Relationship Id="rId31" Type="http://schemas.openxmlformats.org/officeDocument/2006/relationships/slideLayout" Target="../slideLayouts/slideLayout280.xml"/><Relationship Id="rId44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53.xml"/><Relationship Id="rId9" Type="http://schemas.openxmlformats.org/officeDocument/2006/relationships/slideLayout" Target="../slideLayouts/slideLayout258.xml"/><Relationship Id="rId14" Type="http://schemas.openxmlformats.org/officeDocument/2006/relationships/slideLayout" Target="../slideLayouts/slideLayout263.xml"/><Relationship Id="rId22" Type="http://schemas.openxmlformats.org/officeDocument/2006/relationships/slideLayout" Target="../slideLayouts/slideLayout271.xml"/><Relationship Id="rId27" Type="http://schemas.openxmlformats.org/officeDocument/2006/relationships/slideLayout" Target="../slideLayouts/slideLayout276.xml"/><Relationship Id="rId30" Type="http://schemas.openxmlformats.org/officeDocument/2006/relationships/slideLayout" Target="../slideLayouts/slideLayout279.xml"/><Relationship Id="rId35" Type="http://schemas.openxmlformats.org/officeDocument/2006/relationships/slideLayout" Target="../slideLayouts/slideLayout284.xml"/><Relationship Id="rId43" Type="http://schemas.openxmlformats.org/officeDocument/2006/relationships/slideLayout" Target="../slideLayouts/slideLayout292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257.xml"/><Relationship Id="rId3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61.xml"/><Relationship Id="rId17" Type="http://schemas.openxmlformats.org/officeDocument/2006/relationships/slideLayout" Target="../slideLayouts/slideLayout266.xml"/><Relationship Id="rId25" Type="http://schemas.openxmlformats.org/officeDocument/2006/relationships/slideLayout" Target="../slideLayouts/slideLayout274.xml"/><Relationship Id="rId33" Type="http://schemas.openxmlformats.org/officeDocument/2006/relationships/slideLayout" Target="../slideLayouts/slideLayout282.xml"/><Relationship Id="rId38" Type="http://schemas.openxmlformats.org/officeDocument/2006/relationships/slideLayout" Target="../slideLayouts/slideLayout287.xml"/><Relationship Id="rId46" Type="http://schemas.openxmlformats.org/officeDocument/2006/relationships/tags" Target="../tags/tag31.xml"/><Relationship Id="rId20" Type="http://schemas.openxmlformats.org/officeDocument/2006/relationships/slideLayout" Target="../slideLayouts/slideLayout269.xml"/><Relationship Id="rId41" Type="http://schemas.openxmlformats.org/officeDocument/2006/relationships/slideLayout" Target="../slideLayouts/slideLayout2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6B5F20-E565-7556-E29B-113719B2D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F41CB7-386C-6CC1-3B5B-B13D91954A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2D7A16-19CB-BC3A-2D15-D7523FEED6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3D94065-7AC4-4988-9E4E-AD5D41358D4A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844A50-EB3B-06DD-B868-4CD0100BAF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A26DE2-695D-1197-2654-4686EC2BAF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937E4227-9072-44DD-8525-CB761786C15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007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4172034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532" imgH="530" progId="TCLayout.ActiveDocument.1">
                  <p:embed/>
                </p:oleObj>
              </mc:Choice>
              <mc:Fallback>
                <p:oleObj name="think-cell Slide" r:id="rId54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B2E6EF-6147-4E07-9D9F-12D42BDEDE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069638" y="6642100"/>
            <a:ext cx="1087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Internal</a:t>
            </a:r>
          </a:p>
        </p:txBody>
      </p:sp>
    </p:spTree>
    <p:extLst>
      <p:ext uri="{BB962C8B-B14F-4D97-AF65-F5344CB8AC3E}">
        <p14:creationId xmlns:p14="http://schemas.microsoft.com/office/powerpoint/2010/main" val="2214810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99878853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32" imgH="530" progId="TCLayout.ActiveDocument.1">
                  <p:embed/>
                </p:oleObj>
              </mc:Choice>
              <mc:Fallback>
                <p:oleObj name="think-cell Slide" r:id="rId4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B2E6EF-6147-4E07-9D9F-12D42BDEDE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069638" y="6642100"/>
            <a:ext cx="1087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Internal</a:t>
            </a:r>
          </a:p>
        </p:txBody>
      </p:sp>
    </p:spTree>
    <p:extLst>
      <p:ext uri="{BB962C8B-B14F-4D97-AF65-F5344CB8AC3E}">
        <p14:creationId xmlns:p14="http://schemas.microsoft.com/office/powerpoint/2010/main" val="130173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49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4172034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32" imgH="530" progId="TCLayout.ActiveDocument.1">
                  <p:embed/>
                </p:oleObj>
              </mc:Choice>
              <mc:Fallback>
                <p:oleObj name="think-cell Slide" r:id="rId42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8FBB2E-B16A-75CA-0351-2F955D453401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069638" y="6642100"/>
            <a:ext cx="1087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Internal</a:t>
            </a:r>
          </a:p>
        </p:txBody>
      </p:sp>
    </p:spTree>
    <p:extLst>
      <p:ext uri="{BB962C8B-B14F-4D97-AF65-F5344CB8AC3E}">
        <p14:creationId xmlns:p14="http://schemas.microsoft.com/office/powerpoint/2010/main" val="265806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  <p:sldLayoutId id="2147483789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4172034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32" imgH="530" progId="TCLayout.ActiveDocument.1">
                  <p:embed/>
                </p:oleObj>
              </mc:Choice>
              <mc:Fallback>
                <p:oleObj name="think-cell Slide" r:id="rId4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B2E6EF-6147-4E07-9D9F-12D42BDEDE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069638" y="6642100"/>
            <a:ext cx="10874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Internal</a:t>
            </a:r>
          </a:p>
        </p:txBody>
      </p:sp>
    </p:spTree>
    <p:extLst>
      <p:ext uri="{BB962C8B-B14F-4D97-AF65-F5344CB8AC3E}">
        <p14:creationId xmlns:p14="http://schemas.microsoft.com/office/powerpoint/2010/main" val="311910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  <p:sldLayoutId id="2147483825" r:id="rId35"/>
    <p:sldLayoutId id="2147483826" r:id="rId36"/>
    <p:sldLayoutId id="2147483827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4172034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32" imgH="530" progId="TCLayout.ActiveDocument.1">
                  <p:embed/>
                </p:oleObj>
              </mc:Choice>
              <mc:Fallback>
                <p:oleObj name="think-cell Slide" r:id="rId4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69552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  <p:sldLayoutId id="2147483860" r:id="rId32"/>
    <p:sldLayoutId id="2147483861" r:id="rId33"/>
    <p:sldLayoutId id="2147483862" r:id="rId34"/>
    <p:sldLayoutId id="2147483863" r:id="rId35"/>
    <p:sldLayoutId id="2147483864" r:id="rId36"/>
    <p:sldLayoutId id="2147483865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16016831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32" imgH="530" progId="TCLayout.ActiveDocument.1">
                  <p:embed/>
                </p:oleObj>
              </mc:Choice>
              <mc:Fallback>
                <p:oleObj name="think-cell Slide" r:id="rId40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>
              <a:solidFill>
                <a:schemeClr val="tx1"/>
              </a:solidFill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CC6255E-A6DF-43A7-87B1-F3F0FEF3E3CF}" type="slidenum">
              <a:rPr lang="nl-BE" smtClean="0"/>
              <a:pPr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B2E6EF-6147-4E07-9D9F-12D42BDEDEC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969894" y="6664843"/>
            <a:ext cx="850106" cy="76944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nl-BE" sz="50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</a:t>
            </a:r>
            <a:r>
              <a:rPr lang="nl-BE" sz="5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  <a:r>
              <a:rPr lang="nl-BE" sz="50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vileged</a:t>
            </a:r>
            <a:r>
              <a:rPr lang="nl-BE" sz="5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ecurity</a:t>
            </a:r>
          </a:p>
        </p:txBody>
      </p:sp>
    </p:spTree>
    <p:extLst>
      <p:ext uri="{BB962C8B-B14F-4D97-AF65-F5344CB8AC3E}">
        <p14:creationId xmlns:p14="http://schemas.microsoft.com/office/powerpoint/2010/main" val="3222715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  <p:sldLayoutId id="2147483889" r:id="rId23"/>
    <p:sldLayoutId id="2147483890" r:id="rId24"/>
    <p:sldLayoutId id="2147483891" r:id="rId25"/>
    <p:sldLayoutId id="2147483892" r:id="rId26"/>
    <p:sldLayoutId id="2147483893" r:id="rId27"/>
    <p:sldLayoutId id="2147483894" r:id="rId28"/>
    <p:sldLayoutId id="2147483895" r:id="rId29"/>
    <p:sldLayoutId id="2147483896" r:id="rId30"/>
    <p:sldLayoutId id="2147483897" r:id="rId31"/>
    <p:sldLayoutId id="2147483898" r:id="rId32"/>
    <p:sldLayoutId id="2147483899" r:id="rId33"/>
    <p:sldLayoutId id="2147483900" r:id="rId34"/>
    <p:sldLayoutId id="2147483901" r:id="rId35"/>
    <p:sldLayoutId id="2147483902" r:id="rId36"/>
    <p:sldLayoutId id="2147483903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20F552-3220-4285-A1A5-61C299BB814B}"/>
              </a:ext>
            </a:extLst>
          </p:cNvPr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55107402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532" imgH="530" progId="TCLayout.ActiveDocument.1">
                  <p:embed/>
                </p:oleObj>
              </mc:Choice>
              <mc:Fallback>
                <p:oleObj name="think-cell Slide" r:id="rId47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20F552-3220-4285-A1A5-61C299BB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BE52A5BE-9120-4807-B626-BDB5BB127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00" y="376199"/>
            <a:ext cx="11448000" cy="114480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23A00A1-4D2B-45F4-A036-7AFC7E36F4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000" y="1902600"/>
            <a:ext cx="11448000" cy="419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B46AEA-9C2C-4BC7-A460-ACC4A648C5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72000" y="6100200"/>
            <a:ext cx="1526400" cy="381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E2A8C633-9782-46E4-94F4-B05FC668407B}" type="datetimeFigureOut">
              <a:rPr lang="nl-BE"/>
              <a:t>28/11/2024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A7CA63C-C5D4-4CFA-9F79-38CD49E60B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0000" y="6100200"/>
            <a:ext cx="87768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1BB47B8-1F82-4D4C-A9A0-6BDB8BCF07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8400" y="6098876"/>
            <a:ext cx="381600" cy="386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99A42222-BDA8-465D-8C69-FB69C1008F4C}" type="slidenum">
              <a:rPr lang="nl-BE"/>
              <a:t>‹nr.›</a:t>
            </a:fld>
            <a:endParaRPr lang="nl-B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B2E6EF-6147-4E07-9D9F-12D42BDEDEC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069639" y="6642101"/>
            <a:ext cx="1087437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BE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fidential Internal</a:t>
            </a:r>
          </a:p>
        </p:txBody>
      </p:sp>
    </p:spTree>
    <p:extLst>
      <p:ext uri="{BB962C8B-B14F-4D97-AF65-F5344CB8AC3E}">
        <p14:creationId xmlns:p14="http://schemas.microsoft.com/office/powerpoint/2010/main" val="714958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  <p:sldLayoutId id="2147483925" r:id="rId21"/>
    <p:sldLayoutId id="2147483926" r:id="rId22"/>
    <p:sldLayoutId id="2147483927" r:id="rId23"/>
    <p:sldLayoutId id="2147483928" r:id="rId24"/>
    <p:sldLayoutId id="2147483929" r:id="rId25"/>
    <p:sldLayoutId id="2147483930" r:id="rId26"/>
    <p:sldLayoutId id="2147483931" r:id="rId27"/>
    <p:sldLayoutId id="2147483932" r:id="rId28"/>
    <p:sldLayoutId id="2147483933" r:id="rId29"/>
    <p:sldLayoutId id="2147483934" r:id="rId30"/>
    <p:sldLayoutId id="2147483935" r:id="rId31"/>
    <p:sldLayoutId id="2147483936" r:id="rId32"/>
    <p:sldLayoutId id="2147483937" r:id="rId33"/>
    <p:sldLayoutId id="2147483938" r:id="rId34"/>
    <p:sldLayoutId id="2147483939" r:id="rId35"/>
    <p:sldLayoutId id="2147483940" r:id="rId36"/>
    <p:sldLayoutId id="2147483941" r:id="rId37"/>
    <p:sldLayoutId id="2147483942" r:id="rId38"/>
    <p:sldLayoutId id="2147483943" r:id="rId39"/>
    <p:sldLayoutId id="2147483944" r:id="rId40"/>
    <p:sldLayoutId id="2147483946" r:id="rId41"/>
    <p:sldLayoutId id="2147483947" r:id="rId42"/>
    <p:sldLayoutId id="2147483948" r:id="rId43"/>
    <p:sldLayoutId id="2147483949" r:id="rId4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76">
          <p15:clr>
            <a:srgbClr val="F26B43"/>
          </p15:clr>
        </p15:guide>
        <p15:guide id="2" pos="7680">
          <p15:clr>
            <a:srgbClr val="F26B43"/>
          </p15:clr>
        </p15:guide>
        <p15:guide id="3" pos="14915">
          <p15:clr>
            <a:srgbClr val="F26B43"/>
          </p15:clr>
        </p15:guide>
        <p15:guide id="4" pos="445">
          <p15:clr>
            <a:srgbClr val="F26B43"/>
          </p15:clr>
        </p15:guide>
        <p15:guide id="5" orient="horz" pos="464">
          <p15:clr>
            <a:srgbClr val="F26B43"/>
          </p15:clr>
        </p15:guide>
        <p15:guide id="6" orient="horz" pos="43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microsoft.com/office/2018/10/relationships/comments" Target="../comments/modernComment_101_18C4DE9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svg"/><Relationship Id="rId3" Type="http://schemas.openxmlformats.org/officeDocument/2006/relationships/oleObject" Target="../embeddings/oleObject40.bin"/><Relationship Id="rId7" Type="http://schemas.openxmlformats.org/officeDocument/2006/relationships/image" Target="../media/image61.svg"/><Relationship Id="rId12" Type="http://schemas.openxmlformats.org/officeDocument/2006/relationships/image" Target="../media/image66.png"/><Relationship Id="rId2" Type="http://schemas.openxmlformats.org/officeDocument/2006/relationships/slideLayout" Target="../slideLayouts/slideLayout141.xml"/><Relationship Id="rId1" Type="http://schemas.openxmlformats.org/officeDocument/2006/relationships/tags" Target="../tags/tag49.xml"/><Relationship Id="rId6" Type="http://schemas.openxmlformats.org/officeDocument/2006/relationships/image" Target="../media/image60.png"/><Relationship Id="rId11" Type="http://schemas.openxmlformats.org/officeDocument/2006/relationships/image" Target="../media/image65.svg"/><Relationship Id="rId5" Type="http://schemas.openxmlformats.org/officeDocument/2006/relationships/image" Target="../media/image59.jpeg"/><Relationship Id="rId10" Type="http://schemas.openxmlformats.org/officeDocument/2006/relationships/image" Target="../media/image64.png"/><Relationship Id="rId4" Type="http://schemas.openxmlformats.org/officeDocument/2006/relationships/image" Target="../media/image53.emf"/><Relationship Id="rId9" Type="http://schemas.openxmlformats.org/officeDocument/2006/relationships/image" Target="../media/image63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71.svg"/><Relationship Id="rId3" Type="http://schemas.openxmlformats.org/officeDocument/2006/relationships/slideLayout" Target="../slideLayouts/slideLayout252.xml"/><Relationship Id="rId7" Type="http://schemas.openxmlformats.org/officeDocument/2006/relationships/image" Target="../media/image29.emf"/><Relationship Id="rId12" Type="http://schemas.openxmlformats.org/officeDocument/2006/relationships/image" Target="../media/image70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41.bin"/><Relationship Id="rId11" Type="http://schemas.openxmlformats.org/officeDocument/2006/relationships/image" Target="../media/image69.svg"/><Relationship Id="rId5" Type="http://schemas.microsoft.com/office/2018/10/relationships/comments" Target="../comments/modernComment_7FFFFFB2_349E04A4.xml"/><Relationship Id="rId15" Type="http://schemas.openxmlformats.org/officeDocument/2006/relationships/image" Target="../media/image73.svg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1.svg"/><Relationship Id="rId14" Type="http://schemas.openxmlformats.org/officeDocument/2006/relationships/image" Target="../media/image7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13" Type="http://schemas.openxmlformats.org/officeDocument/2006/relationships/image" Target="../media/image8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slideLayout" Target="../slideLayouts/slideLayout215.xml"/><Relationship Id="rId1" Type="http://schemas.openxmlformats.org/officeDocument/2006/relationships/tags" Target="../tags/tag52.xml"/><Relationship Id="rId6" Type="http://schemas.openxmlformats.org/officeDocument/2006/relationships/image" Target="../media/image74.jpeg"/><Relationship Id="rId11" Type="http://schemas.openxmlformats.org/officeDocument/2006/relationships/image" Target="../media/image79.png"/><Relationship Id="rId5" Type="http://schemas.openxmlformats.org/officeDocument/2006/relationships/image" Target="../media/image29.emf"/><Relationship Id="rId10" Type="http://schemas.openxmlformats.org/officeDocument/2006/relationships/image" Target="../media/image78.svg"/><Relationship Id="rId4" Type="http://schemas.openxmlformats.org/officeDocument/2006/relationships/oleObject" Target="../embeddings/oleObject42.bin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32.png"/><Relationship Id="rId12" Type="http://schemas.openxmlformats.org/officeDocument/2006/relationships/image" Target="../media/image37.jpg"/><Relationship Id="rId2" Type="http://schemas.openxmlformats.org/officeDocument/2006/relationships/slideLayout" Target="../slideLayouts/slideLayout178.xml"/><Relationship Id="rId1" Type="http://schemas.openxmlformats.org/officeDocument/2006/relationships/tags" Target="../tags/tag44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emf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2.png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45.xml"/><Relationship Id="rId6" Type="http://schemas.openxmlformats.org/officeDocument/2006/relationships/image" Target="../media/image55.jpeg"/><Relationship Id="rId5" Type="http://schemas.openxmlformats.org/officeDocument/2006/relationships/image" Target="../media/image54.png"/><Relationship Id="rId4" Type="http://schemas.openxmlformats.org/officeDocument/2006/relationships/image" Target="../media/image5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46.xml"/><Relationship Id="rId6" Type="http://schemas.openxmlformats.org/officeDocument/2006/relationships/image" Target="../media/image54.png"/><Relationship Id="rId5" Type="http://schemas.openxmlformats.org/officeDocument/2006/relationships/image" Target="../media/image55.jpeg"/><Relationship Id="rId4" Type="http://schemas.openxmlformats.org/officeDocument/2006/relationships/image" Target="../media/image53.emf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FFD6_2FC1BFE9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47.xml"/><Relationship Id="rId6" Type="http://schemas.openxmlformats.org/officeDocument/2006/relationships/image" Target="../media/image55.jpeg"/><Relationship Id="rId5" Type="http://schemas.openxmlformats.org/officeDocument/2006/relationships/image" Target="../media/image53.emf"/><Relationship Id="rId4" Type="http://schemas.openxmlformats.org/officeDocument/2006/relationships/oleObject" Target="../embeddings/oleObject3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0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65.xml"/><Relationship Id="rId1" Type="http://schemas.openxmlformats.org/officeDocument/2006/relationships/tags" Target="../tags/tag48.xml"/><Relationship Id="rId6" Type="http://schemas.openxmlformats.org/officeDocument/2006/relationships/image" Target="../media/image54.png"/><Relationship Id="rId5" Type="http://schemas.openxmlformats.org/officeDocument/2006/relationships/image" Target="../media/image55.jpeg"/><Relationship Id="rId4" Type="http://schemas.openxmlformats.org/officeDocument/2006/relationships/image" Target="../media/image5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AB532FB-F013-7E69-C7B2-896264F9C1D1}"/>
              </a:ext>
            </a:extLst>
          </p:cNvPr>
          <p:cNvSpPr/>
          <p:nvPr/>
        </p:nvSpPr>
        <p:spPr>
          <a:xfrm>
            <a:off x="9167874" y="5983669"/>
            <a:ext cx="2576007" cy="316524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ember 4, 202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E39B5E9-4616-F46E-D39E-2BB25139C118}"/>
              </a:ext>
            </a:extLst>
          </p:cNvPr>
          <p:cNvSpPr/>
          <p:nvPr/>
        </p:nvSpPr>
        <p:spPr>
          <a:xfrm>
            <a:off x="6328602" y="4962310"/>
            <a:ext cx="5415279" cy="746347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Kate Engels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Tribe Lead </a:t>
            </a:r>
            <a:r>
              <a:rPr kumimoji="0" lang="en-US" sz="2000" b="1" u="none" strike="noStrike" kern="1200" cap="none" spc="0" normalizeH="0" baseline="0" noProof="0" dirty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Customer Interaction Platforms &amp; Autom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CA44B8C-0F4E-A7CC-B8D7-9247C4CB68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7041" y="412178"/>
            <a:ext cx="6033641" cy="6033641"/>
          </a:xfrm>
          <a:prstGeom prst="rect">
            <a:avLst/>
          </a:prstGeom>
        </p:spPr>
      </p:pic>
      <p:grpSp>
        <p:nvGrpSpPr>
          <p:cNvPr id="11" name="Graphic 30">
            <a:extLst>
              <a:ext uri="{FF2B5EF4-FFF2-40B4-BE49-F238E27FC236}">
                <a16:creationId xmlns:a16="http://schemas.microsoft.com/office/drawing/2014/main" id="{4ECE2BF4-F31A-9116-BD60-EF6F3D43660B}"/>
              </a:ext>
            </a:extLst>
          </p:cNvPr>
          <p:cNvGrpSpPr/>
          <p:nvPr/>
        </p:nvGrpSpPr>
        <p:grpSpPr>
          <a:xfrm>
            <a:off x="755400" y="5337000"/>
            <a:ext cx="761400" cy="761400"/>
            <a:chOff x="1525200" y="10674424"/>
            <a:chExt cx="1522800" cy="1522800"/>
          </a:xfrm>
          <a:solidFill>
            <a:schemeClr val="bg1"/>
          </a:solidFill>
        </p:grpSpPr>
        <p:sp>
          <p:nvSpPr>
            <p:cNvPr id="12" name="Vrije vorm: vorm 4">
              <a:extLst>
                <a:ext uri="{FF2B5EF4-FFF2-40B4-BE49-F238E27FC236}">
                  <a16:creationId xmlns:a16="http://schemas.microsoft.com/office/drawing/2014/main" id="{4A893BED-5A0C-F866-F64A-AC93AB0B2B17}"/>
                </a:ext>
              </a:extLst>
            </p:cNvPr>
            <p:cNvSpPr/>
            <p:nvPr/>
          </p:nvSpPr>
          <p:spPr>
            <a:xfrm>
              <a:off x="1525183" y="10674424"/>
              <a:ext cx="1522965" cy="1522800"/>
            </a:xfrm>
            <a:custGeom>
              <a:avLst/>
              <a:gdLst>
                <a:gd name="connsiteX0" fmla="*/ 1290424 w 1522965"/>
                <a:gd name="connsiteY0" fmla="*/ 1116555 h 1522800"/>
                <a:gd name="connsiteX1" fmla="*/ 1118303 w 1522965"/>
                <a:gd name="connsiteY1" fmla="*/ 1290164 h 1522800"/>
                <a:gd name="connsiteX2" fmla="*/ 761329 w 1522965"/>
                <a:gd name="connsiteY2" fmla="*/ 1312485 h 1522800"/>
                <a:gd name="connsiteX3" fmla="*/ 404339 w 1522965"/>
                <a:gd name="connsiteY3" fmla="*/ 1290164 h 1522800"/>
                <a:gd name="connsiteX4" fmla="*/ 232218 w 1522965"/>
                <a:gd name="connsiteY4" fmla="*/ 1116555 h 1522800"/>
                <a:gd name="connsiteX5" fmla="*/ 210228 w 1522965"/>
                <a:gd name="connsiteY5" fmla="*/ 761400 h 1522800"/>
                <a:gd name="connsiteX6" fmla="*/ 232218 w 1522965"/>
                <a:gd name="connsiteY6" fmla="*/ 406245 h 1522800"/>
                <a:gd name="connsiteX7" fmla="*/ 404339 w 1522965"/>
                <a:gd name="connsiteY7" fmla="*/ 232802 h 1522800"/>
                <a:gd name="connsiteX8" fmla="*/ 761313 w 1522965"/>
                <a:gd name="connsiteY8" fmla="*/ 210480 h 1522800"/>
                <a:gd name="connsiteX9" fmla="*/ 1118286 w 1522965"/>
                <a:gd name="connsiteY9" fmla="*/ 232802 h 1522800"/>
                <a:gd name="connsiteX10" fmla="*/ 1290407 w 1522965"/>
                <a:gd name="connsiteY10" fmla="*/ 406245 h 1522800"/>
                <a:gd name="connsiteX11" fmla="*/ 1312398 w 1522965"/>
                <a:gd name="connsiteY11" fmla="*/ 761400 h 1522800"/>
                <a:gd name="connsiteX12" fmla="*/ 1290407 w 1522965"/>
                <a:gd name="connsiteY12" fmla="*/ 1116555 h 1522800"/>
                <a:gd name="connsiteX13" fmla="*/ 1492290 w 1522965"/>
                <a:gd name="connsiteY13" fmla="*/ 270665 h 1522800"/>
                <a:gd name="connsiteX14" fmla="*/ 1254363 w 1522965"/>
                <a:gd name="connsiteY14" fmla="*/ 30919 h 1522800"/>
                <a:gd name="connsiteX15" fmla="*/ 761313 w 1522965"/>
                <a:gd name="connsiteY15" fmla="*/ 0 h 1522800"/>
                <a:gd name="connsiteX16" fmla="*/ 268097 w 1522965"/>
                <a:gd name="connsiteY16" fmla="*/ 30919 h 1522800"/>
                <a:gd name="connsiteX17" fmla="*/ 30336 w 1522965"/>
                <a:gd name="connsiteY17" fmla="*/ 270665 h 1522800"/>
                <a:gd name="connsiteX18" fmla="*/ -87 w 1522965"/>
                <a:gd name="connsiteY18" fmla="*/ 761400 h 1522800"/>
                <a:gd name="connsiteX19" fmla="*/ 30336 w 1522965"/>
                <a:gd name="connsiteY19" fmla="*/ 1252135 h 1522800"/>
                <a:gd name="connsiteX20" fmla="*/ 268097 w 1522965"/>
                <a:gd name="connsiteY20" fmla="*/ 1491881 h 1522800"/>
                <a:gd name="connsiteX21" fmla="*/ 761313 w 1522965"/>
                <a:gd name="connsiteY21" fmla="*/ 1522800 h 1522800"/>
                <a:gd name="connsiteX22" fmla="*/ 1254528 w 1522965"/>
                <a:gd name="connsiteY22" fmla="*/ 1491881 h 1522800"/>
                <a:gd name="connsiteX23" fmla="*/ 1492455 w 1522965"/>
                <a:gd name="connsiteY23" fmla="*/ 1252135 h 1522800"/>
                <a:gd name="connsiteX24" fmla="*/ 1522878 w 1522965"/>
                <a:gd name="connsiteY24" fmla="*/ 761400 h 1522800"/>
                <a:gd name="connsiteX25" fmla="*/ 1492290 w 1522965"/>
                <a:gd name="connsiteY25" fmla="*/ 270665 h 15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522965" h="1522800">
                  <a:moveTo>
                    <a:pt x="1290424" y="1116555"/>
                  </a:moveTo>
                  <a:cubicBezTo>
                    <a:pt x="1279346" y="1207493"/>
                    <a:pt x="1209241" y="1279086"/>
                    <a:pt x="1118303" y="1290164"/>
                  </a:cubicBezTo>
                  <a:cubicBezTo>
                    <a:pt x="1118303" y="1290164"/>
                    <a:pt x="973959" y="1312485"/>
                    <a:pt x="761329" y="1312485"/>
                  </a:cubicBezTo>
                  <a:cubicBezTo>
                    <a:pt x="548699" y="1312485"/>
                    <a:pt x="404339" y="1290164"/>
                    <a:pt x="404339" y="1290164"/>
                  </a:cubicBezTo>
                  <a:cubicBezTo>
                    <a:pt x="313401" y="1279251"/>
                    <a:pt x="243296" y="1207493"/>
                    <a:pt x="232218" y="1116555"/>
                  </a:cubicBezTo>
                  <a:cubicBezTo>
                    <a:pt x="232218" y="1116555"/>
                    <a:pt x="210228" y="954354"/>
                    <a:pt x="210228" y="761400"/>
                  </a:cubicBezTo>
                  <a:cubicBezTo>
                    <a:pt x="210228" y="568446"/>
                    <a:pt x="232218" y="406245"/>
                    <a:pt x="232218" y="406245"/>
                  </a:cubicBezTo>
                  <a:cubicBezTo>
                    <a:pt x="243296" y="315307"/>
                    <a:pt x="313401" y="243714"/>
                    <a:pt x="404339" y="232802"/>
                  </a:cubicBezTo>
                  <a:cubicBezTo>
                    <a:pt x="404339" y="232802"/>
                    <a:pt x="548683" y="210480"/>
                    <a:pt x="761313" y="210480"/>
                  </a:cubicBezTo>
                  <a:cubicBezTo>
                    <a:pt x="973942" y="210480"/>
                    <a:pt x="1118286" y="232802"/>
                    <a:pt x="1118286" y="232802"/>
                  </a:cubicBezTo>
                  <a:cubicBezTo>
                    <a:pt x="1209224" y="243714"/>
                    <a:pt x="1279329" y="315307"/>
                    <a:pt x="1290407" y="406245"/>
                  </a:cubicBezTo>
                  <a:cubicBezTo>
                    <a:pt x="1290407" y="406245"/>
                    <a:pt x="1312398" y="568446"/>
                    <a:pt x="1312398" y="761400"/>
                  </a:cubicBezTo>
                  <a:cubicBezTo>
                    <a:pt x="1312398" y="954354"/>
                    <a:pt x="1290407" y="1116555"/>
                    <a:pt x="1290407" y="1116555"/>
                  </a:cubicBezTo>
                  <a:moveTo>
                    <a:pt x="1492290" y="270665"/>
                  </a:moveTo>
                  <a:cubicBezTo>
                    <a:pt x="1477078" y="145005"/>
                    <a:pt x="1380188" y="45965"/>
                    <a:pt x="1254363" y="30919"/>
                  </a:cubicBezTo>
                  <a:cubicBezTo>
                    <a:pt x="1254363" y="30919"/>
                    <a:pt x="1054960" y="0"/>
                    <a:pt x="761313" y="0"/>
                  </a:cubicBezTo>
                  <a:cubicBezTo>
                    <a:pt x="467665" y="0"/>
                    <a:pt x="268097" y="30919"/>
                    <a:pt x="268097" y="30919"/>
                  </a:cubicBezTo>
                  <a:cubicBezTo>
                    <a:pt x="142437" y="46130"/>
                    <a:pt x="45547" y="145005"/>
                    <a:pt x="30336" y="270665"/>
                  </a:cubicBezTo>
                  <a:cubicBezTo>
                    <a:pt x="30336" y="270665"/>
                    <a:pt x="-87" y="494869"/>
                    <a:pt x="-87" y="761400"/>
                  </a:cubicBezTo>
                  <a:cubicBezTo>
                    <a:pt x="-87" y="1027931"/>
                    <a:pt x="30336" y="1252135"/>
                    <a:pt x="30336" y="1252135"/>
                  </a:cubicBezTo>
                  <a:cubicBezTo>
                    <a:pt x="45547" y="1377795"/>
                    <a:pt x="142437" y="1476670"/>
                    <a:pt x="268097" y="1491881"/>
                  </a:cubicBezTo>
                  <a:cubicBezTo>
                    <a:pt x="268097" y="1491881"/>
                    <a:pt x="467665" y="1522800"/>
                    <a:pt x="761313" y="1522800"/>
                  </a:cubicBezTo>
                  <a:cubicBezTo>
                    <a:pt x="1054960" y="1522800"/>
                    <a:pt x="1254528" y="1491881"/>
                    <a:pt x="1254528" y="1491881"/>
                  </a:cubicBezTo>
                  <a:cubicBezTo>
                    <a:pt x="1380188" y="1476670"/>
                    <a:pt x="1477078" y="1377795"/>
                    <a:pt x="1492455" y="1252135"/>
                  </a:cubicBezTo>
                  <a:cubicBezTo>
                    <a:pt x="1492455" y="1252135"/>
                    <a:pt x="1522878" y="1027931"/>
                    <a:pt x="1522878" y="761400"/>
                  </a:cubicBezTo>
                  <a:cubicBezTo>
                    <a:pt x="1522878" y="494869"/>
                    <a:pt x="1492290" y="270830"/>
                    <a:pt x="1492290" y="270665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3" name="Vrije vorm: vorm 5">
              <a:extLst>
                <a:ext uri="{FF2B5EF4-FFF2-40B4-BE49-F238E27FC236}">
                  <a16:creationId xmlns:a16="http://schemas.microsoft.com/office/drawing/2014/main" id="{33A8A7D1-1065-7627-B0CD-4FAC6AEADBB3}"/>
                </a:ext>
              </a:extLst>
            </p:cNvPr>
            <p:cNvSpPr/>
            <p:nvPr/>
          </p:nvSpPr>
          <p:spPr>
            <a:xfrm>
              <a:off x="2347445" y="11179810"/>
              <a:ext cx="238423" cy="115249"/>
            </a:xfrm>
            <a:custGeom>
              <a:avLst/>
              <a:gdLst>
                <a:gd name="connsiteX0" fmla="*/ 10164 w 238423"/>
                <a:gd name="connsiteY0" fmla="*/ 110182 h 115249"/>
                <a:gd name="connsiteX1" fmla="*/ 114660 w 238423"/>
                <a:gd name="connsiteY1" fmla="*/ 104064 h 115249"/>
                <a:gd name="connsiteX2" fmla="*/ 226927 w 238423"/>
                <a:gd name="connsiteY2" fmla="*/ 114976 h 115249"/>
                <a:gd name="connsiteX3" fmla="*/ 238336 w 238423"/>
                <a:gd name="connsiteY3" fmla="*/ 105387 h 115249"/>
                <a:gd name="connsiteX4" fmla="*/ 238336 w 238423"/>
                <a:gd name="connsiteY4" fmla="*/ 26188 h 115249"/>
                <a:gd name="connsiteX5" fmla="*/ 229077 w 238423"/>
                <a:gd name="connsiteY5" fmla="*/ 16598 h 115249"/>
                <a:gd name="connsiteX6" fmla="*/ 114825 w 238423"/>
                <a:gd name="connsiteY6" fmla="*/ 64 h 115249"/>
                <a:gd name="connsiteX7" fmla="*/ 8676 w 238423"/>
                <a:gd name="connsiteY7" fmla="*/ 10646 h 115249"/>
                <a:gd name="connsiteX8" fmla="*/ -87 w 238423"/>
                <a:gd name="connsiteY8" fmla="*/ 21062 h 115249"/>
                <a:gd name="connsiteX9" fmla="*/ -87 w 238423"/>
                <a:gd name="connsiteY9" fmla="*/ 99269 h 115249"/>
                <a:gd name="connsiteX10" fmla="*/ 10164 w 238423"/>
                <a:gd name="connsiteY10" fmla="*/ 110182 h 11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8423" h="115249">
                  <a:moveTo>
                    <a:pt x="10164" y="110182"/>
                  </a:moveTo>
                  <a:cubicBezTo>
                    <a:pt x="44767" y="105259"/>
                    <a:pt x="79719" y="103213"/>
                    <a:pt x="114660" y="104064"/>
                  </a:cubicBezTo>
                  <a:cubicBezTo>
                    <a:pt x="152308" y="104792"/>
                    <a:pt x="189843" y="108440"/>
                    <a:pt x="226927" y="114976"/>
                  </a:cubicBezTo>
                  <a:cubicBezTo>
                    <a:pt x="226927" y="114977"/>
                    <a:pt x="238336" y="117787"/>
                    <a:pt x="238336" y="105387"/>
                  </a:cubicBezTo>
                  <a:lnTo>
                    <a:pt x="238336" y="26188"/>
                  </a:lnTo>
                  <a:cubicBezTo>
                    <a:pt x="238336" y="18913"/>
                    <a:pt x="229077" y="16598"/>
                    <a:pt x="229077" y="16598"/>
                  </a:cubicBezTo>
                  <a:cubicBezTo>
                    <a:pt x="191772" y="6629"/>
                    <a:pt x="153425" y="1079"/>
                    <a:pt x="114825" y="64"/>
                  </a:cubicBezTo>
                  <a:cubicBezTo>
                    <a:pt x="79152" y="-530"/>
                    <a:pt x="43530" y="3021"/>
                    <a:pt x="8676" y="10646"/>
                  </a:cubicBezTo>
                  <a:cubicBezTo>
                    <a:pt x="8676" y="10646"/>
                    <a:pt x="-87" y="13291"/>
                    <a:pt x="-87" y="21062"/>
                  </a:cubicBezTo>
                  <a:lnTo>
                    <a:pt x="-87" y="99269"/>
                  </a:lnTo>
                  <a:cubicBezTo>
                    <a:pt x="-87" y="114150"/>
                    <a:pt x="10164" y="110182"/>
                    <a:pt x="10164" y="110182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4" name="Vrije vorm: vorm 8">
              <a:extLst>
                <a:ext uri="{FF2B5EF4-FFF2-40B4-BE49-F238E27FC236}">
                  <a16:creationId xmlns:a16="http://schemas.microsoft.com/office/drawing/2014/main" id="{33CADCA5-742A-A8C5-824A-8D88C72CD06F}"/>
                </a:ext>
              </a:extLst>
            </p:cNvPr>
            <p:cNvSpPr/>
            <p:nvPr/>
          </p:nvSpPr>
          <p:spPr>
            <a:xfrm>
              <a:off x="1962364" y="11138869"/>
              <a:ext cx="237431" cy="199567"/>
            </a:xfrm>
            <a:custGeom>
              <a:avLst/>
              <a:gdLst>
                <a:gd name="connsiteX0" fmla="*/ 118628 w 237431"/>
                <a:gd name="connsiteY0" fmla="*/ 199568 h 199567"/>
                <a:gd name="connsiteX1" fmla="*/ 237344 w 237431"/>
                <a:gd name="connsiteY1" fmla="*/ 99701 h 199567"/>
                <a:gd name="connsiteX2" fmla="*/ 118628 w 237431"/>
                <a:gd name="connsiteY2" fmla="*/ 0 h 199567"/>
                <a:gd name="connsiteX3" fmla="*/ -87 w 237431"/>
                <a:gd name="connsiteY3" fmla="*/ 99701 h 199567"/>
                <a:gd name="connsiteX4" fmla="*/ 118628 w 237431"/>
                <a:gd name="connsiteY4" fmla="*/ 199568 h 19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431" h="199567">
                  <a:moveTo>
                    <a:pt x="118628" y="199568"/>
                  </a:moveTo>
                  <a:cubicBezTo>
                    <a:pt x="118628" y="199568"/>
                    <a:pt x="237344" y="199402"/>
                    <a:pt x="237344" y="99701"/>
                  </a:cubicBezTo>
                  <a:cubicBezTo>
                    <a:pt x="237344" y="0"/>
                    <a:pt x="118628" y="0"/>
                    <a:pt x="118628" y="0"/>
                  </a:cubicBezTo>
                  <a:cubicBezTo>
                    <a:pt x="118628" y="0"/>
                    <a:pt x="-87" y="165"/>
                    <a:pt x="-87" y="99701"/>
                  </a:cubicBezTo>
                  <a:cubicBezTo>
                    <a:pt x="-87" y="199237"/>
                    <a:pt x="118628" y="199568"/>
                    <a:pt x="118628" y="19956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  <p:sp>
          <p:nvSpPr>
            <p:cNvPr id="15" name="Vrije vorm: vorm 9">
              <a:extLst>
                <a:ext uri="{FF2B5EF4-FFF2-40B4-BE49-F238E27FC236}">
                  <a16:creationId xmlns:a16="http://schemas.microsoft.com/office/drawing/2014/main" id="{6318CAC8-9BF0-7739-33C9-6359045EAE90}"/>
                </a:ext>
              </a:extLst>
            </p:cNvPr>
            <p:cNvSpPr/>
            <p:nvPr/>
          </p:nvSpPr>
          <p:spPr>
            <a:xfrm>
              <a:off x="1943845" y="11536505"/>
              <a:ext cx="666659" cy="198753"/>
            </a:xfrm>
            <a:custGeom>
              <a:avLst/>
              <a:gdLst>
                <a:gd name="connsiteX0" fmla="*/ 651195 w 666659"/>
                <a:gd name="connsiteY0" fmla="*/ 2988 h 198753"/>
                <a:gd name="connsiteX1" fmla="*/ 333242 w 666659"/>
                <a:gd name="connsiteY1" fmla="*/ 94918 h 198753"/>
                <a:gd name="connsiteX2" fmla="*/ 15289 w 666659"/>
                <a:gd name="connsiteY2" fmla="*/ 2988 h 198753"/>
                <a:gd name="connsiteX3" fmla="*/ -87 w 666659"/>
                <a:gd name="connsiteY3" fmla="*/ 12413 h 198753"/>
                <a:gd name="connsiteX4" fmla="*/ -87 w 666659"/>
                <a:gd name="connsiteY4" fmla="*/ 52922 h 198753"/>
                <a:gd name="connsiteX5" fmla="*/ 13471 w 666659"/>
                <a:gd name="connsiteY5" fmla="*/ 77888 h 198753"/>
                <a:gd name="connsiteX6" fmla="*/ 333242 w 666659"/>
                <a:gd name="connsiteY6" fmla="*/ 198753 h 198753"/>
                <a:gd name="connsiteX7" fmla="*/ 653014 w 666659"/>
                <a:gd name="connsiteY7" fmla="*/ 77888 h 198753"/>
                <a:gd name="connsiteX8" fmla="*/ 666572 w 666659"/>
                <a:gd name="connsiteY8" fmla="*/ 52922 h 198753"/>
                <a:gd name="connsiteX9" fmla="*/ 666572 w 666659"/>
                <a:gd name="connsiteY9" fmla="*/ 12413 h 198753"/>
                <a:gd name="connsiteX10" fmla="*/ 651195 w 666659"/>
                <a:gd name="connsiteY10" fmla="*/ 2988 h 198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659" h="198753">
                  <a:moveTo>
                    <a:pt x="651195" y="2988"/>
                  </a:moveTo>
                  <a:cubicBezTo>
                    <a:pt x="610025" y="28947"/>
                    <a:pt x="489490" y="94918"/>
                    <a:pt x="333242" y="94918"/>
                  </a:cubicBezTo>
                  <a:cubicBezTo>
                    <a:pt x="176994" y="94918"/>
                    <a:pt x="56625" y="28947"/>
                    <a:pt x="15289" y="2988"/>
                  </a:cubicBezTo>
                  <a:cubicBezTo>
                    <a:pt x="15289" y="2988"/>
                    <a:pt x="-87" y="-7924"/>
                    <a:pt x="-87" y="12413"/>
                  </a:cubicBezTo>
                  <a:lnTo>
                    <a:pt x="-87" y="52922"/>
                  </a:lnTo>
                  <a:cubicBezTo>
                    <a:pt x="-87" y="65157"/>
                    <a:pt x="13471" y="77888"/>
                    <a:pt x="13471" y="77888"/>
                  </a:cubicBezTo>
                  <a:cubicBezTo>
                    <a:pt x="54145" y="109634"/>
                    <a:pt x="181624" y="198753"/>
                    <a:pt x="333242" y="198753"/>
                  </a:cubicBezTo>
                  <a:cubicBezTo>
                    <a:pt x="484861" y="198753"/>
                    <a:pt x="612174" y="109634"/>
                    <a:pt x="653014" y="77888"/>
                  </a:cubicBezTo>
                  <a:cubicBezTo>
                    <a:pt x="653014" y="77888"/>
                    <a:pt x="666572" y="64992"/>
                    <a:pt x="666572" y="52922"/>
                  </a:cubicBezTo>
                  <a:lnTo>
                    <a:pt x="666572" y="12413"/>
                  </a:lnTo>
                  <a:cubicBezTo>
                    <a:pt x="666572" y="-8090"/>
                    <a:pt x="651195" y="2988"/>
                    <a:pt x="651195" y="2988"/>
                  </a:cubicBezTo>
                </a:path>
              </a:pathLst>
            </a:custGeom>
            <a:grpFill/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BE" sz="90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72EA4A3-9BD7-6056-D8DB-AB91FB3F8282}"/>
              </a:ext>
            </a:extLst>
          </p:cNvPr>
          <p:cNvSpPr txBox="1"/>
          <p:nvPr/>
        </p:nvSpPr>
        <p:spPr>
          <a:xfrm>
            <a:off x="10885636" y="6574536"/>
            <a:ext cx="1306364" cy="2834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9A04B37-898D-36C7-6D58-A9D3B4820A6B}"/>
              </a:ext>
            </a:extLst>
          </p:cNvPr>
          <p:cNvSpPr/>
          <p:nvPr/>
        </p:nvSpPr>
        <p:spPr>
          <a:xfrm>
            <a:off x="5837094" y="2173571"/>
            <a:ext cx="5701724" cy="212325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upercharging Customer Service with AI-Powered Agents</a:t>
            </a:r>
          </a:p>
        </p:txBody>
      </p:sp>
    </p:spTree>
    <p:extLst>
      <p:ext uri="{BB962C8B-B14F-4D97-AF65-F5344CB8AC3E}">
        <p14:creationId xmlns:p14="http://schemas.microsoft.com/office/powerpoint/2010/main" val="5395769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842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yellow and white text on a black background&#10;&#10;Description automatically generated">
            <a:extLst>
              <a:ext uri="{FF2B5EF4-FFF2-40B4-BE49-F238E27FC236}">
                <a16:creationId xmlns:a16="http://schemas.microsoft.com/office/drawing/2014/main" id="{C486AD7C-4F4A-BA38-E3B5-5F36B33D3F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60815" y="643467"/>
            <a:ext cx="10870370" cy="5571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5522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E971F2-A91F-7313-4B51-7119BF6FE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E971F2-A91F-7313-4B51-7119BF6FE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5090" name="Picture 2" descr="view of floating open book from stacked books in library">
            <a:extLst>
              <a:ext uri="{FF2B5EF4-FFF2-40B4-BE49-F238E27FC236}">
                <a16:creationId xmlns:a16="http://schemas.microsoft.com/office/drawing/2014/main" id="{B67AF7E2-4A34-F937-7765-C3C17C7123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93" r="5891" b="21758"/>
          <a:stretch/>
        </p:blipFill>
        <p:spPr bwMode="auto">
          <a:xfrm>
            <a:off x="4564913" y="-8739"/>
            <a:ext cx="7627087" cy="686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472076B-7F6A-DE62-D109-72AD2F70A211}"/>
              </a:ext>
            </a:extLst>
          </p:cNvPr>
          <p:cNvSpPr/>
          <p:nvPr/>
        </p:nvSpPr>
        <p:spPr>
          <a:xfrm>
            <a:off x="3714635" y="-4370"/>
            <a:ext cx="8477365" cy="6853631"/>
          </a:xfrm>
          <a:prstGeom prst="rect">
            <a:avLst/>
          </a:prstGeom>
          <a:solidFill>
            <a:srgbClr val="575756">
              <a:alpha val="7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nl-BE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3362FDB-BC59-FD4E-3D11-96ACFC41BD3A}"/>
              </a:ext>
            </a:extLst>
          </p:cNvPr>
          <p:cNvSpPr/>
          <p:nvPr/>
        </p:nvSpPr>
        <p:spPr>
          <a:xfrm>
            <a:off x="21" y="-4370"/>
            <a:ext cx="6095980" cy="6858000"/>
          </a:xfrm>
          <a:custGeom>
            <a:avLst/>
            <a:gdLst>
              <a:gd name="connsiteX0" fmla="*/ 0 w 12191959"/>
              <a:gd name="connsiteY0" fmla="*/ 0 h 13716000"/>
              <a:gd name="connsiteX1" fmla="*/ 10322133 w 12191959"/>
              <a:gd name="connsiteY1" fmla="*/ 0 h 13716000"/>
              <a:gd name="connsiteX2" fmla="*/ 10430705 w 12191959"/>
              <a:gd name="connsiteY2" fmla="*/ 176345 h 13716000"/>
              <a:gd name="connsiteX3" fmla="*/ 12191959 w 12191959"/>
              <a:gd name="connsiteY3" fmla="*/ 6946707 h 13716000"/>
              <a:gd name="connsiteX4" fmla="*/ 10677877 w 12191959"/>
              <a:gd name="connsiteY4" fmla="*/ 13273421 h 13716000"/>
              <a:gd name="connsiteX5" fmla="*/ 10431301 w 12191959"/>
              <a:gd name="connsiteY5" fmla="*/ 13716000 h 13716000"/>
              <a:gd name="connsiteX6" fmla="*/ 0 w 12191959"/>
              <a:gd name="connsiteY6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59" h="13716000">
                <a:moveTo>
                  <a:pt x="0" y="0"/>
                </a:moveTo>
                <a:lnTo>
                  <a:pt x="10322133" y="0"/>
                </a:lnTo>
                <a:lnTo>
                  <a:pt x="10430705" y="176345"/>
                </a:lnTo>
                <a:cubicBezTo>
                  <a:pt x="11536885" y="2064286"/>
                  <a:pt x="12191959" y="4407853"/>
                  <a:pt x="12191959" y="6946707"/>
                </a:cubicBezTo>
                <a:cubicBezTo>
                  <a:pt x="12191959" y="9290264"/>
                  <a:pt x="11633790" y="11467424"/>
                  <a:pt x="10677877" y="13273421"/>
                </a:cubicBezTo>
                <a:lnTo>
                  <a:pt x="10431301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AD22AB4-0AF9-AE5B-397D-00556B39DBF7}"/>
              </a:ext>
            </a:extLst>
          </p:cNvPr>
          <p:cNvGrpSpPr/>
          <p:nvPr/>
        </p:nvGrpSpPr>
        <p:grpSpPr>
          <a:xfrm>
            <a:off x="2041141" y="5521668"/>
            <a:ext cx="1824422" cy="895688"/>
            <a:chOff x="19572831" y="10681243"/>
            <a:chExt cx="3648843" cy="1791376"/>
          </a:xfrm>
          <a:solidFill>
            <a:srgbClr val="FFFFFF"/>
          </a:soli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420C179-E89A-1CA4-66B6-B0C32EB94318}"/>
                </a:ext>
              </a:extLst>
            </p:cNvPr>
            <p:cNvSpPr/>
            <p:nvPr/>
          </p:nvSpPr>
          <p:spPr>
            <a:xfrm>
              <a:off x="19586192" y="11532709"/>
              <a:ext cx="1111609" cy="939910"/>
            </a:xfrm>
            <a:custGeom>
              <a:avLst/>
              <a:gdLst>
                <a:gd name="connsiteX0" fmla="*/ 1009926 w 1095469"/>
                <a:gd name="connsiteY0" fmla="*/ 926263 h 926262"/>
                <a:gd name="connsiteX1" fmla="*/ 748306 w 1095469"/>
                <a:gd name="connsiteY1" fmla="*/ 686973 h 926262"/>
                <a:gd name="connsiteX2" fmla="*/ 722419 w 1095469"/>
                <a:gd name="connsiteY2" fmla="*/ 678677 h 926262"/>
                <a:gd name="connsiteX3" fmla="*/ 718826 w 1095469"/>
                <a:gd name="connsiteY3" fmla="*/ 651637 h 926262"/>
                <a:gd name="connsiteX4" fmla="*/ 382948 w 1095469"/>
                <a:gd name="connsiteY4" fmla="*/ 388635 h 926262"/>
                <a:gd name="connsiteX5" fmla="*/ 345812 w 1095469"/>
                <a:gd name="connsiteY5" fmla="*/ 388981 h 926262"/>
                <a:gd name="connsiteX6" fmla="*/ 340096 w 1095469"/>
                <a:gd name="connsiteY6" fmla="*/ 352182 h 926262"/>
                <a:gd name="connsiteX7" fmla="*/ 0 w 1095469"/>
                <a:gd name="connsiteY7" fmla="*/ 85735 h 926262"/>
                <a:gd name="connsiteX8" fmla="*/ 632 w 1095469"/>
                <a:gd name="connsiteY8" fmla="*/ 0 h 926262"/>
                <a:gd name="connsiteX9" fmla="*/ 418056 w 1095469"/>
                <a:gd name="connsiteY9" fmla="*/ 304105 h 926262"/>
                <a:gd name="connsiteX10" fmla="*/ 799601 w 1095469"/>
                <a:gd name="connsiteY10" fmla="*/ 614207 h 926262"/>
                <a:gd name="connsiteX11" fmla="*/ 1095470 w 1095469"/>
                <a:gd name="connsiteY11" fmla="*/ 919341 h 92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95469" h="926262">
                  <a:moveTo>
                    <a:pt x="1009926" y="926263"/>
                  </a:moveTo>
                  <a:cubicBezTo>
                    <a:pt x="997413" y="768313"/>
                    <a:pt x="750797" y="687774"/>
                    <a:pt x="748306" y="686973"/>
                  </a:cubicBezTo>
                  <a:lnTo>
                    <a:pt x="722419" y="678677"/>
                  </a:lnTo>
                  <a:lnTo>
                    <a:pt x="718826" y="651637"/>
                  </a:lnTo>
                  <a:cubicBezTo>
                    <a:pt x="684416" y="389326"/>
                    <a:pt x="396439" y="387548"/>
                    <a:pt x="382948" y="388635"/>
                  </a:cubicBezTo>
                  <a:lnTo>
                    <a:pt x="345812" y="388981"/>
                  </a:lnTo>
                  <a:lnTo>
                    <a:pt x="340096" y="352182"/>
                  </a:lnTo>
                  <a:cubicBezTo>
                    <a:pt x="300660" y="91767"/>
                    <a:pt x="12286" y="85852"/>
                    <a:pt x="0" y="85735"/>
                  </a:cubicBezTo>
                  <a:lnTo>
                    <a:pt x="632" y="0"/>
                  </a:lnTo>
                  <a:cubicBezTo>
                    <a:pt x="123797" y="750"/>
                    <a:pt x="361537" y="66248"/>
                    <a:pt x="418056" y="304105"/>
                  </a:cubicBezTo>
                  <a:cubicBezTo>
                    <a:pt x="549745" y="314040"/>
                    <a:pt x="755801" y="387202"/>
                    <a:pt x="799601" y="614207"/>
                  </a:cubicBezTo>
                  <a:cubicBezTo>
                    <a:pt x="873396" y="642680"/>
                    <a:pt x="1081112" y="738518"/>
                    <a:pt x="1095470" y="919341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713A4B9-3921-D6FE-B506-C152FFFA28A3}"/>
                </a:ext>
              </a:extLst>
            </p:cNvPr>
            <p:cNvSpPr/>
            <p:nvPr/>
          </p:nvSpPr>
          <p:spPr>
            <a:xfrm>
              <a:off x="19572831" y="10681243"/>
              <a:ext cx="3648843" cy="1533918"/>
            </a:xfrm>
            <a:custGeom>
              <a:avLst/>
              <a:gdLst>
                <a:gd name="connsiteX0" fmla="*/ 1797925 w 3595864"/>
                <a:gd name="connsiteY0" fmla="*/ 1511644 h 1511644"/>
                <a:gd name="connsiteX1" fmla="*/ 1758261 w 3595864"/>
                <a:gd name="connsiteY1" fmla="*/ 1415174 h 1511644"/>
                <a:gd name="connsiteX2" fmla="*/ 1613288 w 3595864"/>
                <a:gd name="connsiteY2" fmla="*/ 1324244 h 1511644"/>
                <a:gd name="connsiteX3" fmla="*/ 1575682 w 3595864"/>
                <a:gd name="connsiteY3" fmla="*/ 1324649 h 1511644"/>
                <a:gd name="connsiteX4" fmla="*/ 1570142 w 3595864"/>
                <a:gd name="connsiteY4" fmla="*/ 1287388 h 1511644"/>
                <a:gd name="connsiteX5" fmla="*/ 1365607 w 3595864"/>
                <a:gd name="connsiteY5" fmla="*/ 917357 h 1511644"/>
                <a:gd name="connsiteX6" fmla="*/ 860757 w 3595864"/>
                <a:gd name="connsiteY6" fmla="*/ 844371 h 1511644"/>
                <a:gd name="connsiteX7" fmla="*/ 819315 w 3595864"/>
                <a:gd name="connsiteY7" fmla="*/ 854246 h 1511644"/>
                <a:gd name="connsiteX8" fmla="*/ 809095 w 3595864"/>
                <a:gd name="connsiteY8" fmla="*/ 812915 h 1511644"/>
                <a:gd name="connsiteX9" fmla="*/ 478008 w 3595864"/>
                <a:gd name="connsiteY9" fmla="*/ 583522 h 1511644"/>
                <a:gd name="connsiteX10" fmla="*/ 435618 w 3595864"/>
                <a:gd name="connsiteY10" fmla="*/ 584154 h 1511644"/>
                <a:gd name="connsiteX11" fmla="*/ 434413 w 3595864"/>
                <a:gd name="connsiteY11" fmla="*/ 541816 h 1511644"/>
                <a:gd name="connsiteX12" fmla="*/ 0 w 3595864"/>
                <a:gd name="connsiteY12" fmla="*/ 81370 h 1511644"/>
                <a:gd name="connsiteX13" fmla="*/ 27033 w 3595864"/>
                <a:gd name="connsiteY13" fmla="*/ 0 h 1511644"/>
                <a:gd name="connsiteX14" fmla="*/ 517274 w 3595864"/>
                <a:gd name="connsiteY14" fmla="*/ 499198 h 1511644"/>
                <a:gd name="connsiteX15" fmla="*/ 880479 w 3595864"/>
                <a:gd name="connsiteY15" fmla="*/ 753133 h 1511644"/>
                <a:gd name="connsiteX16" fmla="*/ 1413346 w 3595864"/>
                <a:gd name="connsiteY16" fmla="*/ 846068 h 1511644"/>
                <a:gd name="connsiteX17" fmla="*/ 1649653 w 3595864"/>
                <a:gd name="connsiteY17" fmla="*/ 1241530 h 1511644"/>
                <a:gd name="connsiteX18" fmla="*/ 1797962 w 3595864"/>
                <a:gd name="connsiteY18" fmla="*/ 1318226 h 1511644"/>
                <a:gd name="connsiteX19" fmla="*/ 1946322 w 3595864"/>
                <a:gd name="connsiteY19" fmla="*/ 1241530 h 1511644"/>
                <a:gd name="connsiteX20" fmla="*/ 2182630 w 3595864"/>
                <a:gd name="connsiteY20" fmla="*/ 846068 h 1511644"/>
                <a:gd name="connsiteX21" fmla="*/ 2715379 w 3595864"/>
                <a:gd name="connsiteY21" fmla="*/ 753133 h 1511644"/>
                <a:gd name="connsiteX22" fmla="*/ 3078642 w 3595864"/>
                <a:gd name="connsiteY22" fmla="*/ 499198 h 1511644"/>
                <a:gd name="connsiteX23" fmla="*/ 3568884 w 3595864"/>
                <a:gd name="connsiteY23" fmla="*/ 0 h 1511644"/>
                <a:gd name="connsiteX24" fmla="*/ 3595865 w 3595864"/>
                <a:gd name="connsiteY24" fmla="*/ 81370 h 1511644"/>
                <a:gd name="connsiteX25" fmla="*/ 3161541 w 3595864"/>
                <a:gd name="connsiteY25" fmla="*/ 541757 h 1511644"/>
                <a:gd name="connsiteX26" fmla="*/ 3160394 w 3595864"/>
                <a:gd name="connsiteY26" fmla="*/ 584095 h 1511644"/>
                <a:gd name="connsiteX27" fmla="*/ 3117946 w 3595864"/>
                <a:gd name="connsiteY27" fmla="*/ 583464 h 1511644"/>
                <a:gd name="connsiteX28" fmla="*/ 2786837 w 3595864"/>
                <a:gd name="connsiteY28" fmla="*/ 812856 h 1511644"/>
                <a:gd name="connsiteX29" fmla="*/ 2776616 w 3595864"/>
                <a:gd name="connsiteY29" fmla="*/ 854239 h 1511644"/>
                <a:gd name="connsiteX30" fmla="*/ 2735115 w 3595864"/>
                <a:gd name="connsiteY30" fmla="*/ 844312 h 1511644"/>
                <a:gd name="connsiteX31" fmla="*/ 2230383 w 3595864"/>
                <a:gd name="connsiteY31" fmla="*/ 917298 h 1511644"/>
                <a:gd name="connsiteX32" fmla="*/ 2025848 w 3595864"/>
                <a:gd name="connsiteY32" fmla="*/ 1287329 h 1511644"/>
                <a:gd name="connsiteX33" fmla="*/ 2020477 w 3595864"/>
                <a:gd name="connsiteY33" fmla="*/ 1325045 h 1511644"/>
                <a:gd name="connsiteX34" fmla="*/ 1982422 w 3595864"/>
                <a:gd name="connsiteY34" fmla="*/ 1324186 h 1511644"/>
                <a:gd name="connsiteX35" fmla="*/ 1837677 w 3595864"/>
                <a:gd name="connsiteY35" fmla="*/ 1415115 h 151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595864" h="1511644">
                  <a:moveTo>
                    <a:pt x="1797925" y="1511644"/>
                  </a:moveTo>
                  <a:lnTo>
                    <a:pt x="1758261" y="1415174"/>
                  </a:lnTo>
                  <a:cubicBezTo>
                    <a:pt x="1720949" y="1324186"/>
                    <a:pt x="1616529" y="1324413"/>
                    <a:pt x="1613288" y="1324244"/>
                  </a:cubicBezTo>
                  <a:lnTo>
                    <a:pt x="1575682" y="1324649"/>
                  </a:lnTo>
                  <a:lnTo>
                    <a:pt x="1570142" y="1287388"/>
                  </a:lnTo>
                  <a:cubicBezTo>
                    <a:pt x="1546320" y="1117983"/>
                    <a:pt x="1477434" y="993532"/>
                    <a:pt x="1365607" y="917357"/>
                  </a:cubicBezTo>
                  <a:cubicBezTo>
                    <a:pt x="1157229" y="775507"/>
                    <a:pt x="863770" y="843563"/>
                    <a:pt x="860757" y="844371"/>
                  </a:cubicBezTo>
                  <a:lnTo>
                    <a:pt x="819315" y="854246"/>
                  </a:lnTo>
                  <a:lnTo>
                    <a:pt x="809095" y="812915"/>
                  </a:lnTo>
                  <a:cubicBezTo>
                    <a:pt x="752068" y="582031"/>
                    <a:pt x="488713" y="583809"/>
                    <a:pt x="478008" y="583522"/>
                  </a:cubicBezTo>
                  <a:lnTo>
                    <a:pt x="435618" y="584154"/>
                  </a:lnTo>
                  <a:lnTo>
                    <a:pt x="434413" y="541816"/>
                  </a:lnTo>
                  <a:cubicBezTo>
                    <a:pt x="426257" y="226975"/>
                    <a:pt x="4276" y="82803"/>
                    <a:pt x="0" y="81370"/>
                  </a:cubicBezTo>
                  <a:lnTo>
                    <a:pt x="27033" y="0"/>
                  </a:lnTo>
                  <a:cubicBezTo>
                    <a:pt x="46005" y="6282"/>
                    <a:pt x="477089" y="153041"/>
                    <a:pt x="517274" y="499198"/>
                  </a:cubicBezTo>
                  <a:cubicBezTo>
                    <a:pt x="634723" y="509015"/>
                    <a:pt x="814745" y="570406"/>
                    <a:pt x="880479" y="753133"/>
                  </a:cubicBezTo>
                  <a:cubicBezTo>
                    <a:pt x="975457" y="737629"/>
                    <a:pt x="1219884" y="714667"/>
                    <a:pt x="1413346" y="846068"/>
                  </a:cubicBezTo>
                  <a:cubicBezTo>
                    <a:pt x="1538458" y="931054"/>
                    <a:pt x="1617822" y="1063976"/>
                    <a:pt x="1649653" y="1241530"/>
                  </a:cubicBezTo>
                  <a:cubicBezTo>
                    <a:pt x="1689037" y="1247584"/>
                    <a:pt x="1751318" y="1265520"/>
                    <a:pt x="1797962" y="1318226"/>
                  </a:cubicBezTo>
                  <a:cubicBezTo>
                    <a:pt x="1844547" y="1265528"/>
                    <a:pt x="1906828" y="1247643"/>
                    <a:pt x="1946322" y="1241530"/>
                  </a:cubicBezTo>
                  <a:cubicBezTo>
                    <a:pt x="1978102" y="1064035"/>
                    <a:pt x="2057429" y="931024"/>
                    <a:pt x="2182630" y="846068"/>
                  </a:cubicBezTo>
                  <a:cubicBezTo>
                    <a:pt x="2375915" y="714725"/>
                    <a:pt x="2620400" y="737541"/>
                    <a:pt x="2715379" y="753133"/>
                  </a:cubicBezTo>
                  <a:cubicBezTo>
                    <a:pt x="2781171" y="570414"/>
                    <a:pt x="2961245" y="509044"/>
                    <a:pt x="3078642" y="499198"/>
                  </a:cubicBezTo>
                  <a:cubicBezTo>
                    <a:pt x="3118886" y="152989"/>
                    <a:pt x="3549853" y="6290"/>
                    <a:pt x="3568884" y="0"/>
                  </a:cubicBezTo>
                  <a:lnTo>
                    <a:pt x="3595865" y="81370"/>
                  </a:lnTo>
                  <a:cubicBezTo>
                    <a:pt x="3591647" y="82744"/>
                    <a:pt x="3169689" y="226975"/>
                    <a:pt x="3161541" y="541757"/>
                  </a:cubicBezTo>
                  <a:lnTo>
                    <a:pt x="3160394" y="584095"/>
                  </a:lnTo>
                  <a:lnTo>
                    <a:pt x="3117946" y="583464"/>
                  </a:lnTo>
                  <a:cubicBezTo>
                    <a:pt x="3105719" y="584147"/>
                    <a:pt x="2843804" y="582200"/>
                    <a:pt x="2786837" y="812856"/>
                  </a:cubicBezTo>
                  <a:lnTo>
                    <a:pt x="2776616" y="854239"/>
                  </a:lnTo>
                  <a:lnTo>
                    <a:pt x="2735115" y="844312"/>
                  </a:lnTo>
                  <a:cubicBezTo>
                    <a:pt x="2732183" y="843504"/>
                    <a:pt x="2438614" y="775455"/>
                    <a:pt x="2230383" y="917298"/>
                  </a:cubicBezTo>
                  <a:cubicBezTo>
                    <a:pt x="2118476" y="993473"/>
                    <a:pt x="2049670" y="1117961"/>
                    <a:pt x="2025848" y="1287329"/>
                  </a:cubicBezTo>
                  <a:lnTo>
                    <a:pt x="2020477" y="1325045"/>
                  </a:lnTo>
                  <a:lnTo>
                    <a:pt x="1982422" y="1324186"/>
                  </a:lnTo>
                  <a:cubicBezTo>
                    <a:pt x="1977051" y="1324068"/>
                    <a:pt x="1874931" y="1324244"/>
                    <a:pt x="1837677" y="1415115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EC2E1141-42B2-1789-659C-F951A4BEE2AF}"/>
                </a:ext>
              </a:extLst>
            </p:cNvPr>
            <p:cNvSpPr/>
            <p:nvPr/>
          </p:nvSpPr>
          <p:spPr>
            <a:xfrm>
              <a:off x="22252261" y="11686521"/>
              <a:ext cx="724092" cy="632435"/>
            </a:xfrm>
            <a:custGeom>
              <a:avLst/>
              <a:gdLst>
                <a:gd name="connsiteX0" fmla="*/ 85507 w 713579"/>
                <a:gd name="connsiteY0" fmla="*/ 623245 h 623252"/>
                <a:gd name="connsiteX1" fmla="*/ 0 w 713579"/>
                <a:gd name="connsiteY1" fmla="*/ 616441 h 623252"/>
                <a:gd name="connsiteX2" fmla="*/ 295869 w 713579"/>
                <a:gd name="connsiteY2" fmla="*/ 311306 h 623252"/>
                <a:gd name="connsiteX3" fmla="*/ 708899 w 713579"/>
                <a:gd name="connsiteY3" fmla="*/ 0 h 623252"/>
                <a:gd name="connsiteX4" fmla="*/ 713580 w 713579"/>
                <a:gd name="connsiteY4" fmla="*/ 0 h 623252"/>
                <a:gd name="connsiteX5" fmla="*/ 712544 w 713579"/>
                <a:gd name="connsiteY5" fmla="*/ 85735 h 623252"/>
                <a:gd name="connsiteX6" fmla="*/ 376607 w 713579"/>
                <a:gd name="connsiteY6" fmla="*/ 348736 h 623252"/>
                <a:gd name="connsiteX7" fmla="*/ 373080 w 713579"/>
                <a:gd name="connsiteY7" fmla="*/ 375718 h 623252"/>
                <a:gd name="connsiteX8" fmla="*/ 347127 w 713579"/>
                <a:gd name="connsiteY8" fmla="*/ 384072 h 623252"/>
                <a:gd name="connsiteX9" fmla="*/ 85507 w 713579"/>
                <a:gd name="connsiteY9" fmla="*/ 623252 h 623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3579" h="623252">
                  <a:moveTo>
                    <a:pt x="85507" y="623245"/>
                  </a:moveTo>
                  <a:lnTo>
                    <a:pt x="0" y="616441"/>
                  </a:lnTo>
                  <a:cubicBezTo>
                    <a:pt x="14409" y="435617"/>
                    <a:pt x="222126" y="339779"/>
                    <a:pt x="295869" y="311306"/>
                  </a:cubicBezTo>
                  <a:cubicBezTo>
                    <a:pt x="343431" y="65271"/>
                    <a:pt x="581575" y="0"/>
                    <a:pt x="708899" y="0"/>
                  </a:cubicBezTo>
                  <a:lnTo>
                    <a:pt x="713580" y="0"/>
                  </a:lnTo>
                  <a:lnTo>
                    <a:pt x="712544" y="85735"/>
                  </a:lnTo>
                  <a:cubicBezTo>
                    <a:pt x="701639" y="86257"/>
                    <a:pt x="411134" y="86080"/>
                    <a:pt x="376607" y="348736"/>
                  </a:cubicBezTo>
                  <a:lnTo>
                    <a:pt x="373080" y="375718"/>
                  </a:lnTo>
                  <a:lnTo>
                    <a:pt x="347127" y="384072"/>
                  </a:lnTo>
                  <a:cubicBezTo>
                    <a:pt x="344607" y="384763"/>
                    <a:pt x="98020" y="465303"/>
                    <a:pt x="85507" y="623252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A569BAE-DCDE-C4DA-A44A-A4120015D804}"/>
              </a:ext>
            </a:extLst>
          </p:cNvPr>
          <p:cNvGrpSpPr/>
          <p:nvPr/>
        </p:nvGrpSpPr>
        <p:grpSpPr>
          <a:xfrm>
            <a:off x="2818147" y="2643728"/>
            <a:ext cx="270409" cy="3049430"/>
            <a:chOff x="21566568" y="4099703"/>
            <a:chExt cx="540817" cy="1986642"/>
          </a:xfrm>
          <a:solidFill>
            <a:srgbClr val="FFFFFF"/>
          </a:solidFill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1B01B67-2CAE-7772-639F-8BB4FC14B86E}"/>
                </a:ext>
              </a:extLst>
            </p:cNvPr>
            <p:cNvSpPr/>
            <p:nvPr/>
          </p:nvSpPr>
          <p:spPr>
            <a:xfrm>
              <a:off x="21780542" y="4275258"/>
              <a:ext cx="112676" cy="1811087"/>
            </a:xfrm>
            <a:custGeom>
              <a:avLst/>
              <a:gdLst>
                <a:gd name="connsiteX0" fmla="*/ 42853 w 85705"/>
                <a:gd name="connsiteY0" fmla="*/ 446551 h 446551"/>
                <a:gd name="connsiteX1" fmla="*/ 0 w 85705"/>
                <a:gd name="connsiteY1" fmla="*/ 403698 h 446551"/>
                <a:gd name="connsiteX2" fmla="*/ 0 w 85705"/>
                <a:gd name="connsiteY2" fmla="*/ 42853 h 446551"/>
                <a:gd name="connsiteX3" fmla="*/ 42853 w 85705"/>
                <a:gd name="connsiteY3" fmla="*/ 0 h 446551"/>
                <a:gd name="connsiteX4" fmla="*/ 85705 w 85705"/>
                <a:gd name="connsiteY4" fmla="*/ 42853 h 446551"/>
                <a:gd name="connsiteX5" fmla="*/ 85705 w 85705"/>
                <a:gd name="connsiteY5" fmla="*/ 403698 h 446551"/>
                <a:gd name="connsiteX6" fmla="*/ 42853 w 85705"/>
                <a:gd name="connsiteY6" fmla="*/ 446551 h 446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05" h="446551">
                  <a:moveTo>
                    <a:pt x="42853" y="446551"/>
                  </a:moveTo>
                  <a:cubicBezTo>
                    <a:pt x="19200" y="446551"/>
                    <a:pt x="0" y="427351"/>
                    <a:pt x="0" y="403698"/>
                  </a:cubicBezTo>
                  <a:lnTo>
                    <a:pt x="0" y="42853"/>
                  </a:lnTo>
                  <a:cubicBezTo>
                    <a:pt x="0" y="19200"/>
                    <a:pt x="19200" y="0"/>
                    <a:pt x="42853" y="0"/>
                  </a:cubicBezTo>
                  <a:cubicBezTo>
                    <a:pt x="66505" y="0"/>
                    <a:pt x="85705" y="19200"/>
                    <a:pt x="85705" y="42853"/>
                  </a:cubicBezTo>
                  <a:lnTo>
                    <a:pt x="85705" y="403698"/>
                  </a:lnTo>
                  <a:cubicBezTo>
                    <a:pt x="85705" y="427351"/>
                    <a:pt x="66505" y="446551"/>
                    <a:pt x="42853" y="446551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9A663AD-7EA8-8237-770C-5C5D143F2761}"/>
                </a:ext>
              </a:extLst>
            </p:cNvPr>
            <p:cNvSpPr/>
            <p:nvPr/>
          </p:nvSpPr>
          <p:spPr>
            <a:xfrm>
              <a:off x="21566568" y="4099703"/>
              <a:ext cx="112676" cy="1810877"/>
            </a:xfrm>
            <a:custGeom>
              <a:avLst/>
              <a:gdLst>
                <a:gd name="connsiteX0" fmla="*/ 42853 w 85705"/>
                <a:gd name="connsiteY0" fmla="*/ 446500 h 446499"/>
                <a:gd name="connsiteX1" fmla="*/ 0 w 85705"/>
                <a:gd name="connsiteY1" fmla="*/ 403647 h 446499"/>
                <a:gd name="connsiteX2" fmla="*/ 0 w 85705"/>
                <a:gd name="connsiteY2" fmla="*/ 42853 h 446499"/>
                <a:gd name="connsiteX3" fmla="*/ 42853 w 85705"/>
                <a:gd name="connsiteY3" fmla="*/ 0 h 446499"/>
                <a:gd name="connsiteX4" fmla="*/ 85705 w 85705"/>
                <a:gd name="connsiteY4" fmla="*/ 42853 h 446499"/>
                <a:gd name="connsiteX5" fmla="*/ 85705 w 85705"/>
                <a:gd name="connsiteY5" fmla="*/ 403647 h 446499"/>
                <a:gd name="connsiteX6" fmla="*/ 42853 w 85705"/>
                <a:gd name="connsiteY6" fmla="*/ 446500 h 44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05" h="446499">
                  <a:moveTo>
                    <a:pt x="42853" y="446500"/>
                  </a:moveTo>
                  <a:cubicBezTo>
                    <a:pt x="19200" y="446500"/>
                    <a:pt x="0" y="427300"/>
                    <a:pt x="0" y="403647"/>
                  </a:cubicBezTo>
                  <a:lnTo>
                    <a:pt x="0" y="42853"/>
                  </a:lnTo>
                  <a:cubicBezTo>
                    <a:pt x="0" y="19200"/>
                    <a:pt x="19200" y="0"/>
                    <a:pt x="42853" y="0"/>
                  </a:cubicBezTo>
                  <a:cubicBezTo>
                    <a:pt x="66505" y="0"/>
                    <a:pt x="85705" y="19200"/>
                    <a:pt x="85705" y="42853"/>
                  </a:cubicBezTo>
                  <a:lnTo>
                    <a:pt x="85705" y="403647"/>
                  </a:lnTo>
                  <a:cubicBezTo>
                    <a:pt x="85735" y="427300"/>
                    <a:pt x="66535" y="446500"/>
                    <a:pt x="42853" y="446500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718CD51-992B-3898-47E4-752BA2787857}"/>
                </a:ext>
              </a:extLst>
            </p:cNvPr>
            <p:cNvSpPr/>
            <p:nvPr/>
          </p:nvSpPr>
          <p:spPr>
            <a:xfrm>
              <a:off x="21994709" y="4099703"/>
              <a:ext cx="112676" cy="1810877"/>
            </a:xfrm>
            <a:custGeom>
              <a:avLst/>
              <a:gdLst>
                <a:gd name="connsiteX0" fmla="*/ 42853 w 85705"/>
                <a:gd name="connsiteY0" fmla="*/ 446500 h 446499"/>
                <a:gd name="connsiteX1" fmla="*/ 0 w 85705"/>
                <a:gd name="connsiteY1" fmla="*/ 403647 h 446499"/>
                <a:gd name="connsiteX2" fmla="*/ 0 w 85705"/>
                <a:gd name="connsiteY2" fmla="*/ 42853 h 446499"/>
                <a:gd name="connsiteX3" fmla="*/ 42853 w 85705"/>
                <a:gd name="connsiteY3" fmla="*/ 0 h 446499"/>
                <a:gd name="connsiteX4" fmla="*/ 85705 w 85705"/>
                <a:gd name="connsiteY4" fmla="*/ 42853 h 446499"/>
                <a:gd name="connsiteX5" fmla="*/ 85705 w 85705"/>
                <a:gd name="connsiteY5" fmla="*/ 403647 h 446499"/>
                <a:gd name="connsiteX6" fmla="*/ 42853 w 85705"/>
                <a:gd name="connsiteY6" fmla="*/ 446500 h 44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705" h="446499">
                  <a:moveTo>
                    <a:pt x="42853" y="446500"/>
                  </a:moveTo>
                  <a:cubicBezTo>
                    <a:pt x="19200" y="446500"/>
                    <a:pt x="0" y="427300"/>
                    <a:pt x="0" y="403647"/>
                  </a:cubicBezTo>
                  <a:lnTo>
                    <a:pt x="0" y="42853"/>
                  </a:lnTo>
                  <a:cubicBezTo>
                    <a:pt x="0" y="19200"/>
                    <a:pt x="19200" y="0"/>
                    <a:pt x="42853" y="0"/>
                  </a:cubicBezTo>
                  <a:cubicBezTo>
                    <a:pt x="66505" y="0"/>
                    <a:pt x="85705" y="19200"/>
                    <a:pt x="85705" y="42853"/>
                  </a:cubicBezTo>
                  <a:lnTo>
                    <a:pt x="85705" y="403647"/>
                  </a:lnTo>
                  <a:cubicBezTo>
                    <a:pt x="85705" y="427300"/>
                    <a:pt x="66505" y="446500"/>
                    <a:pt x="42853" y="446500"/>
                  </a:cubicBezTo>
                  <a:close/>
                </a:path>
              </a:pathLst>
            </a:custGeom>
            <a:grpFill/>
            <a:ln w="734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121921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934">
                <a:solidFill>
                  <a:srgbClr val="000000"/>
                </a:solidFill>
                <a:latin typeface="Gill Sans" charset="0"/>
                <a:sym typeface="Gill Sans" charset="0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2923415-DB03-2D7F-4022-6AAE2FDAD690}"/>
              </a:ext>
            </a:extLst>
          </p:cNvPr>
          <p:cNvSpPr/>
          <p:nvPr/>
        </p:nvSpPr>
        <p:spPr>
          <a:xfrm>
            <a:off x="719913" y="3612386"/>
            <a:ext cx="4454770" cy="732471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3300">
                <a:solidFill>
                  <a:srgbClr val="FFC421">
                    <a:lumMod val="100000"/>
                  </a:srgbClr>
                </a:solidFill>
                <a:latin typeface="Arial Black"/>
              </a:rPr>
              <a:t>Agent Assist</a:t>
            </a:r>
            <a:endParaRPr lang="nl-BE" sz="3300">
              <a:solidFill>
                <a:srgbClr val="FFC421">
                  <a:lumMod val="100000"/>
                </a:srgbClr>
              </a:solidFill>
              <a:latin typeface="Arial Black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7DCA17D-E23C-9615-39D5-7D14AC5F9AD3}"/>
              </a:ext>
            </a:extLst>
          </p:cNvPr>
          <p:cNvSpPr/>
          <p:nvPr/>
        </p:nvSpPr>
        <p:spPr>
          <a:xfrm>
            <a:off x="594361" y="4352547"/>
            <a:ext cx="4705873" cy="1112082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>
                <a:solidFill>
                  <a:srgbClr val="291D18">
                    <a:lumMod val="100000"/>
                  </a:srgbClr>
                </a:solidFill>
                <a:latin typeface="Arial Black"/>
              </a:rPr>
              <a:t>… raises the bar for </a:t>
            </a:r>
          </a:p>
          <a:p>
            <a:pPr algn="ctr">
              <a:defRPr/>
            </a:pPr>
            <a:r>
              <a:rPr lang="en-US" sz="2000">
                <a:solidFill>
                  <a:srgbClr val="291D18">
                    <a:lumMod val="100000"/>
                  </a:srgbClr>
                </a:solidFill>
                <a:latin typeface="Arial Black"/>
              </a:rPr>
              <a:t>customer servi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B7F2488-1339-0C44-612F-536DA52DA806}"/>
              </a:ext>
            </a:extLst>
          </p:cNvPr>
          <p:cNvSpPr/>
          <p:nvPr/>
        </p:nvSpPr>
        <p:spPr>
          <a:xfrm>
            <a:off x="1392817" y="2910678"/>
            <a:ext cx="3108960" cy="341044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srgbClr val="FFFFFF">
                    <a:lumMod val="65000"/>
                  </a:srgbClr>
                </a:solidFill>
                <a:latin typeface="Arial Rounded MT Bold" panose="020F0704030504030204" pitchFamily="34" charset="0"/>
              </a:rPr>
              <a:t>AI Product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9E557A6-5B05-3192-7361-B1E9F518125A}"/>
              </a:ext>
            </a:extLst>
          </p:cNvPr>
          <p:cNvGrpSpPr/>
          <p:nvPr/>
        </p:nvGrpSpPr>
        <p:grpSpPr>
          <a:xfrm>
            <a:off x="2152719" y="904855"/>
            <a:ext cx="1563846" cy="1563846"/>
            <a:chOff x="5525040" y="3767274"/>
            <a:chExt cx="1188720" cy="118872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39B815E-680C-1365-50E9-060074AF5AB6}"/>
                </a:ext>
              </a:extLst>
            </p:cNvPr>
            <p:cNvSpPr/>
            <p:nvPr/>
          </p:nvSpPr>
          <p:spPr>
            <a:xfrm>
              <a:off x="5525040" y="3767274"/>
              <a:ext cx="1188720" cy="1188720"/>
            </a:xfrm>
            <a:prstGeom prst="ellipse">
              <a:avLst/>
            </a:prstGeom>
            <a:solidFill>
              <a:srgbClr val="FFFBE1"/>
            </a:solidFill>
            <a:ln w="762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2" name="Picture 6">
              <a:extLst>
                <a:ext uri="{FF2B5EF4-FFF2-40B4-BE49-F238E27FC236}">
                  <a16:creationId xmlns:a16="http://schemas.microsoft.com/office/drawing/2014/main" id="{E1B0E025-A533-F612-6241-9F6DCD7117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 bwMode="auto">
            <a:xfrm>
              <a:off x="5732849" y="3975082"/>
              <a:ext cx="773102" cy="773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82C8E17F-8FB5-81F5-F8FF-C2ADC464781C}"/>
              </a:ext>
            </a:extLst>
          </p:cNvPr>
          <p:cNvCxnSpPr>
            <a:cxnSpLocks/>
          </p:cNvCxnSpPr>
          <p:nvPr/>
        </p:nvCxnSpPr>
        <p:spPr>
          <a:xfrm>
            <a:off x="6425322" y="1755831"/>
            <a:ext cx="5120764" cy="0"/>
          </a:xfrm>
          <a:prstGeom prst="line">
            <a:avLst/>
          </a:prstGeom>
          <a:ln w="38100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8249F11B-41EA-922D-F979-80C1CF686D15}"/>
              </a:ext>
            </a:extLst>
          </p:cNvPr>
          <p:cNvSpPr txBox="1"/>
          <p:nvPr/>
        </p:nvSpPr>
        <p:spPr>
          <a:xfrm>
            <a:off x="6560980" y="839234"/>
            <a:ext cx="484944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200">
                <a:solidFill>
                  <a:srgbClr val="FFC421">
                    <a:lumMod val="100000"/>
                  </a:srgbClr>
                </a:solidFill>
                <a:latin typeface="Arial Black"/>
              </a:rPr>
              <a:t>Give customer agents a second brain</a:t>
            </a:r>
          </a:p>
        </p:txBody>
      </p:sp>
      <p:pic>
        <p:nvPicPr>
          <p:cNvPr id="5" name="Graphic 4" descr="Sunglasses face with solid fill with solid fill">
            <a:extLst>
              <a:ext uri="{FF2B5EF4-FFF2-40B4-BE49-F238E27FC236}">
                <a16:creationId xmlns:a16="http://schemas.microsoft.com/office/drawing/2014/main" id="{60DFBB48-796A-3F1D-3A0B-A9E4957FA1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20664" y="4486035"/>
            <a:ext cx="737907" cy="73790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99F2F3F7-1A3D-D388-7647-995298C160D8}"/>
              </a:ext>
            </a:extLst>
          </p:cNvPr>
          <p:cNvSpPr txBox="1"/>
          <p:nvPr/>
        </p:nvSpPr>
        <p:spPr>
          <a:xfrm>
            <a:off x="7862447" y="2639210"/>
            <a:ext cx="35479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rgbClr val="FFFFFF">
                    <a:lumMod val="100000"/>
                  </a:srgbClr>
                </a:solidFill>
                <a:latin typeface="Arial Black"/>
              </a:rPr>
              <a:t>Boost </a:t>
            </a:r>
            <a:r>
              <a:rPr lang="en-US" sz="2000" b="1">
                <a:solidFill>
                  <a:srgbClr val="FFF7C7"/>
                </a:solidFill>
                <a:latin typeface="Arial Black"/>
              </a:rPr>
              <a:t>efficiency</a:t>
            </a:r>
            <a:endParaRPr lang="nl-BE" sz="2000">
              <a:solidFill>
                <a:srgbClr val="FFF7C7"/>
              </a:solidFill>
              <a:latin typeface="Arial Black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12DDBC7-658B-F490-3773-B9D4469CCE13}"/>
              </a:ext>
            </a:extLst>
          </p:cNvPr>
          <p:cNvSpPr txBox="1"/>
          <p:nvPr/>
        </p:nvSpPr>
        <p:spPr>
          <a:xfrm>
            <a:off x="7862447" y="3678188"/>
            <a:ext cx="42156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>
                <a:solidFill>
                  <a:srgbClr val="FFFFFF">
                    <a:lumMod val="100000"/>
                  </a:srgbClr>
                </a:solidFill>
                <a:latin typeface="Arial Black"/>
              </a:rPr>
              <a:t>Increase </a:t>
            </a:r>
            <a:r>
              <a:rPr lang="en-US" sz="2000" b="1">
                <a:solidFill>
                  <a:srgbClr val="FFF7C7"/>
                </a:solidFill>
                <a:latin typeface="Arial Black"/>
              </a:rPr>
              <a:t>support quality</a:t>
            </a:r>
            <a:endParaRPr lang="nl-BE" sz="2000">
              <a:solidFill>
                <a:srgbClr val="FFF7C7"/>
              </a:solidFill>
              <a:latin typeface="Arial Black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D6B8DF-1154-21BF-8FBC-680422EE61F2}"/>
              </a:ext>
            </a:extLst>
          </p:cNvPr>
          <p:cNvSpPr txBox="1"/>
          <p:nvPr/>
        </p:nvSpPr>
        <p:spPr>
          <a:xfrm>
            <a:off x="7862446" y="4656948"/>
            <a:ext cx="40628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FFFFFF">
                    <a:lumMod val="100000"/>
                  </a:srgbClr>
                </a:solidFill>
                <a:latin typeface="Arial Black"/>
              </a:rPr>
              <a:t>Improve </a:t>
            </a:r>
            <a:r>
              <a:rPr lang="en-US" sz="2000" b="1" dirty="0">
                <a:solidFill>
                  <a:srgbClr val="FFF7C7"/>
                </a:solidFill>
                <a:latin typeface="Arial Black"/>
              </a:rPr>
              <a:t>agent satisfaction</a:t>
            </a:r>
            <a:endParaRPr lang="nl-BE" sz="2000" dirty="0">
              <a:solidFill>
                <a:srgbClr val="FFF7C7"/>
              </a:solidFill>
              <a:latin typeface="Arial Black"/>
            </a:endParaRPr>
          </a:p>
        </p:txBody>
      </p:sp>
      <p:pic>
        <p:nvPicPr>
          <p:cNvPr id="27" name="Graphic 26" descr="Remote learning language with solid fill">
            <a:extLst>
              <a:ext uri="{FF2B5EF4-FFF2-40B4-BE49-F238E27FC236}">
                <a16:creationId xmlns:a16="http://schemas.microsoft.com/office/drawing/2014/main" id="{16369CC4-684E-D183-486F-FCD5BF898BC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7063571" y="2530519"/>
            <a:ext cx="650328" cy="650328"/>
          </a:xfrm>
          <a:prstGeom prst="rect">
            <a:avLst/>
          </a:prstGeom>
        </p:spPr>
      </p:pic>
      <p:pic>
        <p:nvPicPr>
          <p:cNvPr id="11" name="Graphic 10" descr="Rating 3 Star with solid fill">
            <a:extLst>
              <a:ext uri="{FF2B5EF4-FFF2-40B4-BE49-F238E27FC236}">
                <a16:creationId xmlns:a16="http://schemas.microsoft.com/office/drawing/2014/main" id="{AD13003F-9C51-0F95-88AA-463C901ADD1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20664" y="3478512"/>
            <a:ext cx="737907" cy="73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961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2BDA80-5391-C0FE-A82E-8D68C8EC7B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6BADFF1-B869-E455-391C-C57375F74A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3" imgH="503" progId="TCLayout.ActiveDocument.1">
                  <p:embed/>
                </p:oleObj>
              </mc:Choice>
              <mc:Fallback>
                <p:oleObj name="think-cell Slide" r:id="rId6" imgW="503" imgH="5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BADFF1-B869-E455-391C-C57375F74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15E0BDB-58AF-B754-89B5-919910AF4762}"/>
              </a:ext>
            </a:extLst>
          </p:cNvPr>
          <p:cNvSpPr/>
          <p:nvPr/>
        </p:nvSpPr>
        <p:spPr>
          <a:xfrm>
            <a:off x="0" y="1"/>
            <a:ext cx="12192000" cy="10833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D6B76DE-C157-FD45-2B65-34FD245D0982}"/>
              </a:ext>
            </a:extLst>
          </p:cNvPr>
          <p:cNvGrpSpPr/>
          <p:nvPr/>
        </p:nvGrpSpPr>
        <p:grpSpPr>
          <a:xfrm>
            <a:off x="192701" y="131490"/>
            <a:ext cx="802500" cy="802500"/>
            <a:chOff x="5525040" y="3767274"/>
            <a:chExt cx="1188720" cy="118872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A59A063-C6D6-062E-B67B-7E10460127F6}"/>
                </a:ext>
              </a:extLst>
            </p:cNvPr>
            <p:cNvSpPr/>
            <p:nvPr/>
          </p:nvSpPr>
          <p:spPr>
            <a:xfrm>
              <a:off x="5525040" y="3767274"/>
              <a:ext cx="1188720" cy="1188720"/>
            </a:xfrm>
            <a:prstGeom prst="ellipse">
              <a:avLst/>
            </a:prstGeom>
            <a:solidFill>
              <a:srgbClr val="FFFBE1"/>
            </a:solidFill>
            <a:ln w="762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28" name="Picture 6">
              <a:extLst>
                <a:ext uri="{FF2B5EF4-FFF2-40B4-BE49-F238E27FC236}">
                  <a16:creationId xmlns:a16="http://schemas.microsoft.com/office/drawing/2014/main" id="{8F331547-743E-DC75-A3C7-EFBBA427A0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 bwMode="auto">
            <a:xfrm>
              <a:off x="5732849" y="3975082"/>
              <a:ext cx="773102" cy="773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4299F12B-9FBB-51C7-796A-75829B6907D0}"/>
              </a:ext>
            </a:extLst>
          </p:cNvPr>
          <p:cNvSpPr/>
          <p:nvPr/>
        </p:nvSpPr>
        <p:spPr>
          <a:xfrm>
            <a:off x="0" y="1246063"/>
            <a:ext cx="12192128" cy="5611937"/>
          </a:xfrm>
          <a:prstGeom prst="rect">
            <a:avLst/>
          </a:prstGeom>
          <a:solidFill>
            <a:srgbClr val="FFD55D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nl-BE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846DB5C-F360-F385-42CC-68B5D127EB52}"/>
              </a:ext>
            </a:extLst>
          </p:cNvPr>
          <p:cNvSpPr/>
          <p:nvPr/>
        </p:nvSpPr>
        <p:spPr>
          <a:xfrm>
            <a:off x="-17624" y="1"/>
            <a:ext cx="12209624" cy="8165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984209-0F4D-FBF1-5404-30A965D12016}"/>
              </a:ext>
            </a:extLst>
          </p:cNvPr>
          <p:cNvSpPr txBox="1"/>
          <p:nvPr/>
        </p:nvSpPr>
        <p:spPr>
          <a:xfrm>
            <a:off x="1088459" y="2189165"/>
            <a:ext cx="2338864" cy="1026000"/>
          </a:xfrm>
          <a:prstGeom prst="round2DiagRect">
            <a:avLst/>
          </a:prstGeom>
          <a:solidFill>
            <a:srgbClr val="FFFBE3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2000" b="1">
                <a:solidFill>
                  <a:srgbClr val="666666"/>
                </a:solidFill>
                <a:latin typeface="Arial"/>
              </a:rPr>
              <a:t>Before interaction</a:t>
            </a:r>
            <a:endParaRPr lang="nl-BE" sz="2000" b="1">
              <a:solidFill>
                <a:srgbClr val="666666"/>
              </a:solidFill>
              <a:latin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121494-2E73-1B62-5E84-A7BE61DF22DB}"/>
              </a:ext>
            </a:extLst>
          </p:cNvPr>
          <p:cNvSpPr txBox="1"/>
          <p:nvPr/>
        </p:nvSpPr>
        <p:spPr>
          <a:xfrm>
            <a:off x="851382" y="3259088"/>
            <a:ext cx="2813016" cy="52322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400" b="1" i="1">
                <a:solidFill>
                  <a:srgbClr val="FFFFFF"/>
                </a:solidFill>
                <a:latin typeface="Arial"/>
              </a:rPr>
              <a:t>Reduce time to find the customer and call con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F3CC7B-B56E-F148-45C4-3BDAB5526257}"/>
              </a:ext>
            </a:extLst>
          </p:cNvPr>
          <p:cNvSpPr txBox="1"/>
          <p:nvPr/>
        </p:nvSpPr>
        <p:spPr>
          <a:xfrm>
            <a:off x="4419134" y="3259088"/>
            <a:ext cx="3353735" cy="52322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400" b="1" i="1">
                <a:solidFill>
                  <a:srgbClr val="FFFFFF"/>
                </a:solidFill>
                <a:latin typeface="Arial"/>
              </a:rPr>
              <a:t>Reduce time to diagnose &amp; solve issues, and improve support qual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0811FF1-7636-E2D8-4BE9-DF527073EF53}"/>
              </a:ext>
            </a:extLst>
          </p:cNvPr>
          <p:cNvCxnSpPr/>
          <p:nvPr/>
        </p:nvCxnSpPr>
        <p:spPr>
          <a:xfrm>
            <a:off x="0" y="4268599"/>
            <a:ext cx="12192000" cy="0"/>
          </a:xfrm>
          <a:prstGeom prst="line">
            <a:avLst/>
          </a:prstGeom>
          <a:ln w="254000">
            <a:solidFill>
              <a:srgbClr val="FFF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7F878C7-BCAA-FCD7-B675-287F11E84FE5}"/>
              </a:ext>
            </a:extLst>
          </p:cNvPr>
          <p:cNvSpPr txBox="1"/>
          <p:nvPr/>
        </p:nvSpPr>
        <p:spPr>
          <a:xfrm>
            <a:off x="4926569" y="2189165"/>
            <a:ext cx="2338864" cy="1026000"/>
          </a:xfrm>
          <a:prstGeom prst="round2DiagRect">
            <a:avLst/>
          </a:prstGeom>
          <a:solidFill>
            <a:srgbClr val="FFFBE3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2000" b="1">
                <a:solidFill>
                  <a:srgbClr val="666666"/>
                </a:solidFill>
                <a:latin typeface="Arial"/>
              </a:rPr>
              <a:t>During interaction</a:t>
            </a:r>
            <a:endParaRPr lang="nl-BE" sz="2000" b="1">
              <a:solidFill>
                <a:srgbClr val="666666"/>
              </a:solidFill>
              <a:latin typeface="Arial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4DDDBE0-144D-DC3F-2DFB-BCDB92070BE2}"/>
              </a:ext>
            </a:extLst>
          </p:cNvPr>
          <p:cNvCxnSpPr/>
          <p:nvPr/>
        </p:nvCxnSpPr>
        <p:spPr>
          <a:xfrm>
            <a:off x="0" y="1197509"/>
            <a:ext cx="12192000" cy="0"/>
          </a:xfrm>
          <a:prstGeom prst="line">
            <a:avLst/>
          </a:prstGeom>
          <a:ln w="2540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4">
            <a:extLst>
              <a:ext uri="{FF2B5EF4-FFF2-40B4-BE49-F238E27FC236}">
                <a16:creationId xmlns:a16="http://schemas.microsoft.com/office/drawing/2014/main" id="{89F49208-07E7-6013-8F5C-D220121D4F75}"/>
              </a:ext>
            </a:extLst>
          </p:cNvPr>
          <p:cNvSpPr txBox="1">
            <a:spLocks/>
          </p:cNvSpPr>
          <p:nvPr/>
        </p:nvSpPr>
        <p:spPr>
          <a:xfrm>
            <a:off x="1187903" y="244952"/>
            <a:ext cx="10811388" cy="6477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4572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371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2286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3200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41148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1000"/>
              </a:spcBef>
              <a:buNone/>
              <a:defRPr/>
            </a:pPr>
            <a:r>
              <a:rPr lang="en-US" sz="2700">
                <a:solidFill>
                  <a:srgbClr val="FFC421"/>
                </a:solidFill>
                <a:latin typeface="Arial Black"/>
              </a:rPr>
              <a:t>Agent Assist – use case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1DBD2C6-8DE2-DA51-D168-B11F99DF38D5}"/>
              </a:ext>
            </a:extLst>
          </p:cNvPr>
          <p:cNvGrpSpPr/>
          <p:nvPr/>
        </p:nvGrpSpPr>
        <p:grpSpPr>
          <a:xfrm>
            <a:off x="1852890" y="3863599"/>
            <a:ext cx="810000" cy="810000"/>
            <a:chOff x="3320714" y="7289784"/>
            <a:chExt cx="1620000" cy="16200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AA16792-986B-241B-45DD-5237D894E934}"/>
                </a:ext>
              </a:extLst>
            </p:cNvPr>
            <p:cNvSpPr/>
            <p:nvPr/>
          </p:nvSpPr>
          <p:spPr>
            <a:xfrm>
              <a:off x="3320714" y="7289784"/>
              <a:ext cx="1620000" cy="1620000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nl-BE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0" name="Graphic 29" descr="Information with solid fill">
              <a:extLst>
                <a:ext uri="{FF2B5EF4-FFF2-40B4-BE49-F238E27FC236}">
                  <a16:creationId xmlns:a16="http://schemas.microsoft.com/office/drawing/2014/main" id="{19CD842C-3A38-FBB0-1AA6-EE0A706CB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3554714" y="7523784"/>
              <a:ext cx="1152000" cy="1152000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2B1D71E-EADD-BB06-2A8A-0C3FCE0991A9}"/>
              </a:ext>
            </a:extLst>
          </p:cNvPr>
          <p:cNvGrpSpPr/>
          <p:nvPr/>
        </p:nvGrpSpPr>
        <p:grpSpPr>
          <a:xfrm>
            <a:off x="5691000" y="3863599"/>
            <a:ext cx="810000" cy="810000"/>
            <a:chOff x="3320714" y="7289784"/>
            <a:chExt cx="1620000" cy="162000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EE23B09-17E6-ABEF-3514-A25D6101123E}"/>
                </a:ext>
              </a:extLst>
            </p:cNvPr>
            <p:cNvSpPr/>
            <p:nvPr/>
          </p:nvSpPr>
          <p:spPr>
            <a:xfrm>
              <a:off x="3320714" y="7289784"/>
              <a:ext cx="1620000" cy="1620000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nl-BE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38" name="Graphic 37" descr="Speaker phone with solid fill">
              <a:extLst>
                <a:ext uri="{FF2B5EF4-FFF2-40B4-BE49-F238E27FC236}">
                  <a16:creationId xmlns:a16="http://schemas.microsoft.com/office/drawing/2014/main" id="{84AFF529-1432-2188-AF9E-C7EF53F3EB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3533269" y="7488328"/>
              <a:ext cx="1224000" cy="122400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25FE210-2159-E974-E014-1AB47DECAA9D}"/>
              </a:ext>
            </a:extLst>
          </p:cNvPr>
          <p:cNvGrpSpPr/>
          <p:nvPr/>
        </p:nvGrpSpPr>
        <p:grpSpPr>
          <a:xfrm>
            <a:off x="9529111" y="3863599"/>
            <a:ext cx="810000" cy="810000"/>
            <a:chOff x="3320714" y="7289784"/>
            <a:chExt cx="1620000" cy="16200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0DEB1135-9060-D9BE-10C9-DE38A79E76CA}"/>
                </a:ext>
              </a:extLst>
            </p:cNvPr>
            <p:cNvSpPr/>
            <p:nvPr/>
          </p:nvSpPr>
          <p:spPr>
            <a:xfrm>
              <a:off x="3320714" y="7289784"/>
              <a:ext cx="1620000" cy="1620000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nl-BE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1" name="Graphic 40" descr="Newspaper with solid fill">
              <a:extLst>
                <a:ext uri="{FF2B5EF4-FFF2-40B4-BE49-F238E27FC236}">
                  <a16:creationId xmlns:a16="http://schemas.microsoft.com/office/drawing/2014/main" id="{2171F87B-98E2-29D2-80CE-55B2BA4A5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533269" y="7488328"/>
              <a:ext cx="1224000" cy="1224000"/>
            </a:xfrm>
            <a:prstGeom prst="rect">
              <a:avLst/>
            </a:prstGeom>
          </p:spPr>
        </p:pic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74437AE1-1C21-FEF8-9C26-5AEB05367FF2}"/>
              </a:ext>
            </a:extLst>
          </p:cNvPr>
          <p:cNvSpPr txBox="1"/>
          <p:nvPr/>
        </p:nvSpPr>
        <p:spPr>
          <a:xfrm>
            <a:off x="8764678" y="2189165"/>
            <a:ext cx="2338864" cy="1026000"/>
          </a:xfrm>
          <a:prstGeom prst="round2DiagRect">
            <a:avLst/>
          </a:prstGeom>
          <a:solidFill>
            <a:srgbClr val="FFFBE3"/>
          </a:solidFill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r>
              <a:rPr lang="en-US" sz="2000" b="1">
                <a:solidFill>
                  <a:srgbClr val="666666"/>
                </a:solidFill>
                <a:latin typeface="Arial"/>
              </a:rPr>
              <a:t>After </a:t>
            </a:r>
          </a:p>
          <a:p>
            <a:pPr algn="ctr">
              <a:defRPr/>
            </a:pPr>
            <a:r>
              <a:rPr lang="en-US" sz="2000" b="1">
                <a:solidFill>
                  <a:srgbClr val="666666"/>
                </a:solidFill>
                <a:latin typeface="Arial"/>
              </a:rPr>
              <a:t>interaction</a:t>
            </a:r>
            <a:endParaRPr lang="nl-BE" sz="2000" b="1">
              <a:solidFill>
                <a:srgbClr val="666666"/>
              </a:solidFill>
              <a:latin typeface="A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5E2E875-1532-61CA-0080-AC1C91A98DF9}"/>
              </a:ext>
            </a:extLst>
          </p:cNvPr>
          <p:cNvSpPr txBox="1"/>
          <p:nvPr/>
        </p:nvSpPr>
        <p:spPr>
          <a:xfrm>
            <a:off x="8527602" y="3259088"/>
            <a:ext cx="2813016" cy="52322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>
            <a:spAutoFit/>
          </a:bodyPr>
          <a:lstStyle/>
          <a:p>
            <a:pPr algn="ctr">
              <a:defRPr/>
            </a:pPr>
            <a:r>
              <a:rPr lang="en-US" sz="1400" b="1" i="1">
                <a:solidFill>
                  <a:srgbClr val="FFFFFF"/>
                </a:solidFill>
                <a:latin typeface="Arial"/>
              </a:rPr>
              <a:t>Reduce time to summarize customer convers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277110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5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E5887AA-83AB-C063-D456-58F3A0E35E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887AA-83AB-C063-D456-58F3A0E35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9" descr="Colleagues huddle">
            <a:extLst>
              <a:ext uri="{FF2B5EF4-FFF2-40B4-BE49-F238E27FC236}">
                <a16:creationId xmlns:a16="http://schemas.microsoft.com/office/drawing/2014/main" id="{2AE5EFDC-5A99-A1FC-5F8E-801AD9D9E1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65" r="24784"/>
          <a:stretch/>
        </p:blipFill>
        <p:spPr bwMode="auto">
          <a:xfrm flipH="1">
            <a:off x="0" y="0"/>
            <a:ext cx="506652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hthoek 1">
            <a:extLst>
              <a:ext uri="{FF2B5EF4-FFF2-40B4-BE49-F238E27FC236}">
                <a16:creationId xmlns:a16="http://schemas.microsoft.com/office/drawing/2014/main" id="{30940EBB-1DDD-8816-AD3D-85E43DDB550F}"/>
              </a:ext>
            </a:extLst>
          </p:cNvPr>
          <p:cNvSpPr/>
          <p:nvPr/>
        </p:nvSpPr>
        <p:spPr>
          <a:xfrm flipH="1">
            <a:off x="-1" y="0"/>
            <a:ext cx="4912227" cy="6858000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9AEF29-BE33-9382-93B5-5DA8FFD3252D}"/>
              </a:ext>
            </a:extLst>
          </p:cNvPr>
          <p:cNvSpPr/>
          <p:nvPr/>
        </p:nvSpPr>
        <p:spPr>
          <a:xfrm>
            <a:off x="585010" y="2681166"/>
            <a:ext cx="3742206" cy="149566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400" b="1">
                <a:solidFill>
                  <a:srgbClr val="FFC421"/>
                </a:solidFill>
                <a:latin typeface="Arial Black"/>
              </a:rPr>
              <a:t>It’s about our people!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754EB8-5CF0-1339-A7F5-0F55BE7BAED6}"/>
              </a:ext>
            </a:extLst>
          </p:cNvPr>
          <p:cNvSpPr/>
          <p:nvPr/>
        </p:nvSpPr>
        <p:spPr>
          <a:xfrm>
            <a:off x="4884795" y="0"/>
            <a:ext cx="236557" cy="6858000"/>
          </a:xfrm>
          <a:prstGeom prst="rect">
            <a:avLst/>
          </a:prstGeom>
          <a:solidFill>
            <a:srgbClr val="FFC42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A1B65237-7184-ADE8-06B5-878A18A46B0F}"/>
              </a:ext>
            </a:extLst>
          </p:cNvPr>
          <p:cNvSpPr/>
          <p:nvPr/>
        </p:nvSpPr>
        <p:spPr>
          <a:xfrm>
            <a:off x="5545155" y="801332"/>
            <a:ext cx="965292" cy="965292"/>
          </a:xfrm>
          <a:prstGeom prst="ellipse">
            <a:avLst/>
          </a:prstGeom>
          <a:solidFill>
            <a:schemeClr val="tx2"/>
          </a:solidFill>
          <a:ln w="762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000">
                <a:solidFill>
                  <a:srgbClr val="FFFFFF"/>
                </a:solidFill>
                <a:latin typeface="Arial Black"/>
              </a:rPr>
              <a:t>A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933FACE-5715-2BFF-8970-D3F86B64D997}"/>
              </a:ext>
            </a:extLst>
          </p:cNvPr>
          <p:cNvSpPr txBox="1"/>
          <p:nvPr/>
        </p:nvSpPr>
        <p:spPr>
          <a:xfrm>
            <a:off x="5334313" y="1849142"/>
            <a:ext cx="13869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BE" sz="1400" b="1">
                <a:solidFill>
                  <a:srgbClr val="FFC421"/>
                </a:solidFill>
                <a:latin typeface="Arial" panose="020B0604020202020204" pitchFamily="34" charset="0"/>
              </a:rPr>
              <a:t>Awareness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F5C4FCC-D4F9-02AA-0291-F6D822950C69}"/>
              </a:ext>
            </a:extLst>
          </p:cNvPr>
          <p:cNvSpPr/>
          <p:nvPr/>
        </p:nvSpPr>
        <p:spPr>
          <a:xfrm>
            <a:off x="6844006" y="801332"/>
            <a:ext cx="965292" cy="965292"/>
          </a:xfrm>
          <a:prstGeom prst="ellipse">
            <a:avLst/>
          </a:prstGeom>
          <a:solidFill>
            <a:srgbClr val="FFFBE1"/>
          </a:solidFill>
          <a:ln w="762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000">
                <a:solidFill>
                  <a:srgbClr val="FFC421"/>
                </a:solidFill>
                <a:latin typeface="Arial Black"/>
              </a:rPr>
              <a:t>D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64C0A12-F4D5-8099-8FFC-9C0E70A36583}"/>
              </a:ext>
            </a:extLst>
          </p:cNvPr>
          <p:cNvSpPr txBox="1"/>
          <p:nvPr/>
        </p:nvSpPr>
        <p:spPr>
          <a:xfrm>
            <a:off x="6633164" y="1849142"/>
            <a:ext cx="1386975" cy="261610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/>
          <a:p>
            <a:pPr algn="ctr">
              <a:defRPr/>
            </a:pPr>
            <a:r>
              <a:rPr lang="nl-BE" sz="1400" b="1">
                <a:solidFill>
                  <a:srgbClr val="FFC421"/>
                </a:solidFill>
                <a:latin typeface="Arial"/>
                <a:cs typeface="Arial"/>
              </a:rPr>
              <a:t>Desire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FF6C0C63-579D-EED8-130E-8C83DD4BE5E2}"/>
              </a:ext>
            </a:extLst>
          </p:cNvPr>
          <p:cNvSpPr/>
          <p:nvPr/>
        </p:nvSpPr>
        <p:spPr>
          <a:xfrm>
            <a:off x="9441709" y="801332"/>
            <a:ext cx="965292" cy="965292"/>
          </a:xfrm>
          <a:prstGeom prst="ellipse">
            <a:avLst/>
          </a:prstGeom>
          <a:solidFill>
            <a:srgbClr val="FFFBE1"/>
          </a:solidFill>
          <a:ln w="762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000">
                <a:solidFill>
                  <a:srgbClr val="FFC421"/>
                </a:solidFill>
                <a:latin typeface="Arial Black"/>
              </a:rPr>
              <a:t>A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8A55CD1-9F96-7946-12FC-82F91E00C3E7}"/>
              </a:ext>
            </a:extLst>
          </p:cNvPr>
          <p:cNvSpPr txBox="1"/>
          <p:nvPr/>
        </p:nvSpPr>
        <p:spPr>
          <a:xfrm>
            <a:off x="9230866" y="1849142"/>
            <a:ext cx="1386975" cy="261610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/>
          <a:p>
            <a:pPr algn="ctr">
              <a:defRPr/>
            </a:pPr>
            <a:r>
              <a:rPr lang="nl-BE" sz="1400" b="1">
                <a:solidFill>
                  <a:srgbClr val="FFC421"/>
                </a:solidFill>
                <a:latin typeface="Arial"/>
                <a:cs typeface="Arial"/>
              </a:rPr>
              <a:t>Ability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BEBD7F5-DF72-EABC-7621-12B9154FDCE3}"/>
              </a:ext>
            </a:extLst>
          </p:cNvPr>
          <p:cNvSpPr/>
          <p:nvPr/>
        </p:nvSpPr>
        <p:spPr>
          <a:xfrm>
            <a:off x="10740560" y="801332"/>
            <a:ext cx="965292" cy="965292"/>
          </a:xfrm>
          <a:prstGeom prst="ellipse">
            <a:avLst/>
          </a:prstGeom>
          <a:solidFill>
            <a:srgbClr val="FFFBE1"/>
          </a:solidFill>
          <a:ln w="762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000">
                <a:solidFill>
                  <a:srgbClr val="FFC421"/>
                </a:solidFill>
                <a:latin typeface="Arial Black"/>
              </a:rPr>
              <a:t>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5611E8D-CB1D-4CF3-A305-0256712BAC42}"/>
              </a:ext>
            </a:extLst>
          </p:cNvPr>
          <p:cNvSpPr txBox="1"/>
          <p:nvPr/>
        </p:nvSpPr>
        <p:spPr>
          <a:xfrm>
            <a:off x="10529720" y="1849142"/>
            <a:ext cx="1386975" cy="261610"/>
          </a:xfrm>
          <a:prstGeom prst="rect">
            <a:avLst/>
          </a:prstGeom>
          <a:noFill/>
        </p:spPr>
        <p:txBody>
          <a:bodyPr wrap="square" lIns="45720" tIns="22860" rIns="45720" bIns="22860" anchor="t">
            <a:spAutoFit/>
          </a:bodyPr>
          <a:lstStyle/>
          <a:p>
            <a:pPr algn="ctr">
              <a:defRPr/>
            </a:pPr>
            <a:r>
              <a:rPr lang="nl-BE" sz="1400" b="1">
                <a:solidFill>
                  <a:srgbClr val="FFC421"/>
                </a:solidFill>
                <a:latin typeface="Arial"/>
                <a:cs typeface="Arial"/>
              </a:rPr>
              <a:t>Reinforcement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7E2F1E13-1324-9702-8554-F27608CEEDDB}"/>
              </a:ext>
            </a:extLst>
          </p:cNvPr>
          <p:cNvSpPr/>
          <p:nvPr/>
        </p:nvSpPr>
        <p:spPr>
          <a:xfrm>
            <a:off x="8142857" y="801332"/>
            <a:ext cx="965292" cy="965292"/>
          </a:xfrm>
          <a:prstGeom prst="ellipse">
            <a:avLst/>
          </a:prstGeom>
          <a:solidFill>
            <a:srgbClr val="FFFBE1"/>
          </a:solidFill>
          <a:ln w="76200">
            <a:solidFill>
              <a:srgbClr val="FFFF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4000">
                <a:solidFill>
                  <a:srgbClr val="FFC421"/>
                </a:solidFill>
                <a:latin typeface="Arial Black"/>
              </a:rPr>
              <a:t>K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A5639579-44F2-2329-221B-91968E9CB956}"/>
              </a:ext>
            </a:extLst>
          </p:cNvPr>
          <p:cNvSpPr txBox="1"/>
          <p:nvPr/>
        </p:nvSpPr>
        <p:spPr>
          <a:xfrm>
            <a:off x="7932016" y="1849142"/>
            <a:ext cx="13869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l-BE" sz="1400" b="1">
                <a:solidFill>
                  <a:srgbClr val="FFC421"/>
                </a:solidFill>
                <a:latin typeface="Arial" panose="020B0604020202020204" pitchFamily="34" charset="0"/>
              </a:rPr>
              <a:t>Knowledge</a:t>
            </a:r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id="{509DE7F9-88C6-9B09-4397-3DF5F30A3953}"/>
              </a:ext>
            </a:extLst>
          </p:cNvPr>
          <p:cNvSpPr/>
          <p:nvPr/>
        </p:nvSpPr>
        <p:spPr>
          <a:xfrm rot="5400000">
            <a:off x="6495398" y="1200642"/>
            <a:ext cx="389001" cy="16667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Isosceles Triangle 80">
            <a:extLst>
              <a:ext uri="{FF2B5EF4-FFF2-40B4-BE49-F238E27FC236}">
                <a16:creationId xmlns:a16="http://schemas.microsoft.com/office/drawing/2014/main" id="{25E0A228-9ADB-2198-5F1B-57FAE3E154EF}"/>
              </a:ext>
            </a:extLst>
          </p:cNvPr>
          <p:cNvSpPr/>
          <p:nvPr/>
        </p:nvSpPr>
        <p:spPr>
          <a:xfrm rot="5400000">
            <a:off x="7786817" y="1200642"/>
            <a:ext cx="389001" cy="16667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" name="Isosceles Triangle 81">
            <a:extLst>
              <a:ext uri="{FF2B5EF4-FFF2-40B4-BE49-F238E27FC236}">
                <a16:creationId xmlns:a16="http://schemas.microsoft.com/office/drawing/2014/main" id="{E601AE07-6360-1661-F300-92521597F8B0}"/>
              </a:ext>
            </a:extLst>
          </p:cNvPr>
          <p:cNvSpPr/>
          <p:nvPr/>
        </p:nvSpPr>
        <p:spPr>
          <a:xfrm rot="5400000">
            <a:off x="9081553" y="1200642"/>
            <a:ext cx="389001" cy="16667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Isosceles Triangle 82">
            <a:extLst>
              <a:ext uri="{FF2B5EF4-FFF2-40B4-BE49-F238E27FC236}">
                <a16:creationId xmlns:a16="http://schemas.microsoft.com/office/drawing/2014/main" id="{3C7F322E-4325-3C70-808A-C96E838F2DF1}"/>
              </a:ext>
            </a:extLst>
          </p:cNvPr>
          <p:cNvSpPr/>
          <p:nvPr/>
        </p:nvSpPr>
        <p:spPr>
          <a:xfrm rot="5400000">
            <a:off x="10389312" y="1200642"/>
            <a:ext cx="389001" cy="166671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8BBCAB3-09CC-0DA0-305F-3A4D9B82F301}"/>
              </a:ext>
            </a:extLst>
          </p:cNvPr>
          <p:cNvGrpSpPr/>
          <p:nvPr/>
        </p:nvGrpSpPr>
        <p:grpSpPr>
          <a:xfrm>
            <a:off x="6037971" y="302873"/>
            <a:ext cx="953842" cy="745863"/>
            <a:chOff x="12233616" y="413275"/>
            <a:chExt cx="1907683" cy="1491725"/>
          </a:xfrm>
        </p:grpSpPr>
        <p:pic>
          <p:nvPicPr>
            <p:cNvPr id="85" name="Graphic 84" descr="Flag with solid fill">
              <a:extLst>
                <a:ext uri="{FF2B5EF4-FFF2-40B4-BE49-F238E27FC236}">
                  <a16:creationId xmlns:a16="http://schemas.microsoft.com/office/drawing/2014/main" id="{62E21136-54A4-3C7D-6A40-0681033739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b="22732"/>
            <a:stretch/>
          </p:blipFill>
          <p:spPr>
            <a:xfrm>
              <a:off x="12233616" y="413275"/>
              <a:ext cx="1907683" cy="1491725"/>
            </a:xfrm>
            <a:prstGeom prst="rect">
              <a:avLst/>
            </a:prstGeom>
          </p:spPr>
        </p:pic>
        <p:pic>
          <p:nvPicPr>
            <p:cNvPr id="86" name="Graphic 85">
              <a:extLst>
                <a:ext uri="{FF2B5EF4-FFF2-40B4-BE49-F238E27FC236}">
                  <a16:creationId xmlns:a16="http://schemas.microsoft.com/office/drawing/2014/main" id="{B303D84E-296C-A76F-69E8-395FA6C1D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13020893" y="658862"/>
              <a:ext cx="504000" cy="5040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73A3043-F9A1-A713-471A-B83D3029ED0F}"/>
              </a:ext>
            </a:extLst>
          </p:cNvPr>
          <p:cNvGrpSpPr/>
          <p:nvPr/>
        </p:nvGrpSpPr>
        <p:grpSpPr>
          <a:xfrm>
            <a:off x="5355838" y="4492859"/>
            <a:ext cx="2625479" cy="1939474"/>
            <a:chOff x="6844006" y="3829050"/>
            <a:chExt cx="2625479" cy="193947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C0007DD-CE2D-B716-859B-779CDB985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44006" y="3829050"/>
              <a:ext cx="2625479" cy="1023937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EBC50C6-A548-119B-29F8-C5D3499BC8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844006" y="4822738"/>
              <a:ext cx="2625479" cy="945786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99668BEB-0A55-0A5B-C6D5-189D581BCEE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095284" y="4509188"/>
            <a:ext cx="3731269" cy="195471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77C0FB7-ECAD-700C-D2BA-EB9B631682A3}"/>
              </a:ext>
            </a:extLst>
          </p:cNvPr>
          <p:cNvSpPr txBox="1"/>
          <p:nvPr/>
        </p:nvSpPr>
        <p:spPr>
          <a:xfrm>
            <a:off x="10885636" y="6574536"/>
            <a:ext cx="1306364" cy="2834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AC5DEE9-945D-FC3D-2A2E-AA24110800F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356931" y="2472166"/>
            <a:ext cx="6469622" cy="189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848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05786BF-86A5-0C46-BA20-503B9995158B}"/>
              </a:ext>
            </a:extLst>
          </p:cNvPr>
          <p:cNvSpPr txBox="1"/>
          <p:nvPr/>
        </p:nvSpPr>
        <p:spPr>
          <a:xfrm>
            <a:off x="10885636" y="6574536"/>
            <a:ext cx="1306364" cy="2834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870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D5B2D24E-A962-DE50-7FD8-3F39F7F154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31" imgH="431" progId="TCLayout.ActiveDocument.1">
                  <p:embed/>
                </p:oleObj>
              </mc:Choice>
              <mc:Fallback>
                <p:oleObj name="think-cell Slide" r:id="rId3" imgW="431" imgH="43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B2D24E-A962-DE50-7FD8-3F39F7F15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val 21">
            <a:extLst>
              <a:ext uri="{FF2B5EF4-FFF2-40B4-BE49-F238E27FC236}">
                <a16:creationId xmlns:a16="http://schemas.microsoft.com/office/drawing/2014/main" id="{BF072D5A-1E5C-E4E6-EEBB-0A1CBF2CF780}"/>
              </a:ext>
            </a:extLst>
          </p:cNvPr>
          <p:cNvSpPr/>
          <p:nvPr/>
        </p:nvSpPr>
        <p:spPr>
          <a:xfrm>
            <a:off x="4383207" y="2273318"/>
            <a:ext cx="3425587" cy="342558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nl-BE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23B42FB-EC1F-F878-EC03-686C827B63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BE"/>
              <a:t>Our Customer Operations Circle has six tribes who together run our oper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363271B-D9C7-9082-A3CB-E7DE340EEFA7}"/>
              </a:ext>
            </a:extLst>
          </p:cNvPr>
          <p:cNvSpPr txBox="1"/>
          <p:nvPr/>
        </p:nvSpPr>
        <p:spPr>
          <a:xfrm>
            <a:off x="8421503" y="3711133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Billing Experience Tribe</a:t>
            </a:r>
          </a:p>
          <a:p>
            <a:pPr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Johan Morel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8646F79-337E-2F42-BF46-96BD8CCBA468}"/>
              </a:ext>
            </a:extLst>
          </p:cNvPr>
          <p:cNvSpPr/>
          <p:nvPr/>
        </p:nvSpPr>
        <p:spPr>
          <a:xfrm>
            <a:off x="4564037" y="2459014"/>
            <a:ext cx="3063926" cy="30639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nl-BE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CC24C82-3797-9E77-7486-D9CAB0DC6BE7}"/>
              </a:ext>
            </a:extLst>
          </p:cNvPr>
          <p:cNvSpPr/>
          <p:nvPr/>
        </p:nvSpPr>
        <p:spPr>
          <a:xfrm>
            <a:off x="5644594" y="3038900"/>
            <a:ext cx="902812" cy="899404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0942328-7356-2EEA-233B-08F075B8C0C2}"/>
              </a:ext>
            </a:extLst>
          </p:cNvPr>
          <p:cNvSpPr/>
          <p:nvPr/>
        </p:nvSpPr>
        <p:spPr>
          <a:xfrm>
            <a:off x="6694073" y="5041463"/>
            <a:ext cx="902812" cy="899404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0E9E1BA-3B66-F8F8-0661-D2B0F88AFB3C}"/>
              </a:ext>
            </a:extLst>
          </p:cNvPr>
          <p:cNvSpPr/>
          <p:nvPr/>
        </p:nvSpPr>
        <p:spPr>
          <a:xfrm>
            <a:off x="4595116" y="5041463"/>
            <a:ext cx="902812" cy="899404"/>
          </a:xfrm>
          <a:prstGeom prst="ellipse">
            <a:avLst/>
          </a:prstGeom>
          <a:blipFill>
            <a:blip r:embed="rId7"/>
            <a:stretch>
              <a:fillRect l="-24310" t="-2" r="1" b="-24307"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2072A3-D9AD-3818-1EB1-8D51618E3F72}"/>
              </a:ext>
            </a:extLst>
          </p:cNvPr>
          <p:cNvSpPr/>
          <p:nvPr/>
        </p:nvSpPr>
        <p:spPr>
          <a:xfrm>
            <a:off x="7402142" y="3653846"/>
            <a:ext cx="902812" cy="899404"/>
          </a:xfrm>
          <a:prstGeom prst="ellipse">
            <a:avLst/>
          </a:prstGeom>
          <a:blipFill>
            <a:blip r:embed="rId8"/>
            <a:stretch>
              <a:fillRect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9B9CB35-0CD0-CF16-7EC4-1820CE4BE2F6}"/>
              </a:ext>
            </a:extLst>
          </p:cNvPr>
          <p:cNvSpPr/>
          <p:nvPr/>
        </p:nvSpPr>
        <p:spPr>
          <a:xfrm>
            <a:off x="3887046" y="3653846"/>
            <a:ext cx="902812" cy="899404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61CBBCC-00F6-2A3F-6EA8-A40E2E9D0FD8}"/>
              </a:ext>
            </a:extLst>
          </p:cNvPr>
          <p:cNvSpPr/>
          <p:nvPr/>
        </p:nvSpPr>
        <p:spPr>
          <a:xfrm>
            <a:off x="6694073" y="2037627"/>
            <a:ext cx="902812" cy="899404"/>
          </a:xfrm>
          <a:prstGeom prst="ellipse">
            <a:avLst/>
          </a:prstGeom>
          <a:blipFill>
            <a:blip r:embed="rId10"/>
            <a:stretch>
              <a:fillRect/>
            </a:stretch>
          </a:blipFill>
          <a:ln w="76200">
            <a:solidFill>
              <a:srgbClr val="FFE7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>
              <a:defRPr/>
            </a:pPr>
            <a:endParaRPr lang="en-US" sz="5400" b="1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6C747C-C8B7-3D71-5F6C-845B37A0E4E9}"/>
              </a:ext>
            </a:extLst>
          </p:cNvPr>
          <p:cNvSpPr txBox="1"/>
          <p:nvPr/>
        </p:nvSpPr>
        <p:spPr>
          <a:xfrm>
            <a:off x="7744512" y="2094914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ustomer Operations BASE Tribe</a:t>
            </a:r>
          </a:p>
          <a:p>
            <a:pPr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Elke De Meu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EE9D4F0-33A0-482D-D26C-A27308190DF1}"/>
              </a:ext>
            </a:extLst>
          </p:cNvPr>
          <p:cNvSpPr txBox="1"/>
          <p:nvPr/>
        </p:nvSpPr>
        <p:spPr>
          <a:xfrm>
            <a:off x="7744512" y="5098750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ustomer Operations Steering Tribe</a:t>
            </a:r>
          </a:p>
          <a:p>
            <a:pPr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David van der Laan​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0EB64D-B041-B457-906A-8A40CAA47DF9}"/>
              </a:ext>
            </a:extLst>
          </p:cNvPr>
          <p:cNvSpPr txBox="1"/>
          <p:nvPr/>
        </p:nvSpPr>
        <p:spPr>
          <a:xfrm>
            <a:off x="1936017" y="3711133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ustomer Operations Back Office Tribe</a:t>
            </a:r>
          </a:p>
          <a:p>
            <a:pPr algn="r"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 algn="r"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Peter Meyncke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24ED26-67B8-3C2D-87FF-CAAFA1D44419}"/>
              </a:ext>
            </a:extLst>
          </p:cNvPr>
          <p:cNvSpPr txBox="1"/>
          <p:nvPr/>
        </p:nvSpPr>
        <p:spPr>
          <a:xfrm>
            <a:off x="2487756" y="2094914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ustomer Operations Telenet Tribe</a:t>
            </a:r>
          </a:p>
          <a:p>
            <a:pPr algn="r"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 algn="r"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Jurriaan Leijd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B30168-C2AD-0062-34F6-CFF2771DFB0E}"/>
              </a:ext>
            </a:extLst>
          </p:cNvPr>
          <p:cNvSpPr txBox="1"/>
          <p:nvPr/>
        </p:nvSpPr>
        <p:spPr>
          <a:xfrm>
            <a:off x="1936017" y="5098750"/>
            <a:ext cx="233870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1200" b="1" dirty="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ustomer Interaction Platforms &amp; Automation Tribe</a:t>
            </a:r>
          </a:p>
          <a:p>
            <a:pPr algn="r">
              <a:defRPr/>
            </a:pPr>
            <a:endParaRPr lang="en-US" sz="1200" dirty="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 algn="r">
              <a:defRPr/>
            </a:pPr>
            <a:r>
              <a:rPr lang="en-US" sz="1200" dirty="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Kate Engel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573E0E6-C04C-E476-4A74-A78B14F5A006}"/>
              </a:ext>
            </a:extLst>
          </p:cNvPr>
          <p:cNvSpPr txBox="1"/>
          <p:nvPr/>
        </p:nvSpPr>
        <p:spPr>
          <a:xfrm>
            <a:off x="5180365" y="4034102"/>
            <a:ext cx="17869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Chief Customer Operations Officer</a:t>
            </a:r>
          </a:p>
          <a:p>
            <a:pPr algn="ctr">
              <a:defRPr/>
            </a:pPr>
            <a:endParaRPr lang="en-US" sz="1200">
              <a:solidFill>
                <a:srgbClr val="291D18">
                  <a:lumMod val="65000"/>
                  <a:lumOff val="35000"/>
                </a:srgbClr>
              </a:solidFill>
              <a:latin typeface="Arial"/>
            </a:endParaRPr>
          </a:p>
          <a:p>
            <a:pPr algn="ctr">
              <a:defRPr/>
            </a:pPr>
            <a:r>
              <a:rPr lang="en-US" sz="1200">
                <a:solidFill>
                  <a:srgbClr val="291D18">
                    <a:lumMod val="65000"/>
                    <a:lumOff val="35000"/>
                  </a:srgbClr>
                </a:solidFill>
                <a:latin typeface="Arial"/>
              </a:rPr>
              <a:t>Benedikte Paulissen</a:t>
            </a:r>
          </a:p>
        </p:txBody>
      </p:sp>
      <p:pic>
        <p:nvPicPr>
          <p:cNvPr id="12" name="Picture 11" descr="A person leaning against a wall&#10;&#10;Description automatically generated">
            <a:extLst>
              <a:ext uri="{FF2B5EF4-FFF2-40B4-BE49-F238E27FC236}">
                <a16:creationId xmlns:a16="http://schemas.microsoft.com/office/drawing/2014/main" id="{4ECDCC32-6181-0C30-7D6C-B0FB8B082F7B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5" t="10988" r="37234" b="19409"/>
          <a:stretch/>
        </p:blipFill>
        <p:spPr>
          <a:xfrm>
            <a:off x="4595116" y="5033777"/>
            <a:ext cx="896275" cy="900000"/>
          </a:xfrm>
          <a:prstGeom prst="ellipse">
            <a:avLst/>
          </a:prstGeom>
          <a:ln w="76200">
            <a:solidFill>
              <a:srgbClr val="FFE7A6"/>
            </a:solidFill>
          </a:ln>
        </p:spPr>
      </p:pic>
      <p:pic>
        <p:nvPicPr>
          <p:cNvPr id="13" name="Picture 12" descr="A person in a purple sweater&#10;&#10;Description automatically generated">
            <a:extLst>
              <a:ext uri="{FF2B5EF4-FFF2-40B4-BE49-F238E27FC236}">
                <a16:creationId xmlns:a16="http://schemas.microsoft.com/office/drawing/2014/main" id="{25EDDA7B-C078-F969-B26F-42A1D5725E6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4" b="8749"/>
          <a:stretch/>
        </p:blipFill>
        <p:spPr>
          <a:xfrm>
            <a:off x="4591391" y="2035464"/>
            <a:ext cx="900000" cy="900000"/>
          </a:xfrm>
          <a:prstGeom prst="ellipse">
            <a:avLst/>
          </a:prstGeom>
          <a:blipFill>
            <a:blip r:embed="rId13"/>
            <a:stretch>
              <a:fillRect/>
            </a:stretch>
          </a:blipFill>
          <a:ln w="76200">
            <a:solidFill>
              <a:srgbClr val="FFE7A6"/>
            </a:solidFill>
          </a:ln>
        </p:spPr>
      </p:pic>
    </p:spTree>
    <p:extLst>
      <p:ext uri="{BB962C8B-B14F-4D97-AF65-F5344CB8AC3E}">
        <p14:creationId xmlns:p14="http://schemas.microsoft.com/office/powerpoint/2010/main" val="3765192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gray and black engine">
            <a:extLst>
              <a:ext uri="{FF2B5EF4-FFF2-40B4-BE49-F238E27FC236}">
                <a16:creationId xmlns:a16="http://schemas.microsoft.com/office/drawing/2014/main" id="{21F1FC0B-62F9-50AF-DA58-F8EB5BEFC1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B396B6-B3BC-29FD-8CB1-FDFCA6E3A85D}"/>
              </a:ext>
            </a:extLst>
          </p:cNvPr>
          <p:cNvSpPr/>
          <p:nvPr/>
        </p:nvSpPr>
        <p:spPr>
          <a:xfrm>
            <a:off x="-1" y="0"/>
            <a:ext cx="12192000" cy="6845331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6C3350F-E702-57A1-1CE9-E55A9E0D23E6}"/>
              </a:ext>
            </a:extLst>
          </p:cNvPr>
          <p:cNvSpPr/>
          <p:nvPr/>
        </p:nvSpPr>
        <p:spPr>
          <a:xfrm>
            <a:off x="2359047" y="5226938"/>
            <a:ext cx="7473907" cy="5486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400" b="0" i="0" u="none" strike="noStrike" kern="1200" cap="none" spc="0" normalizeH="0" baseline="0" noProof="0" dirty="0">
                <a:ln>
                  <a:noFill/>
                </a:ln>
                <a:solidFill>
                  <a:srgbClr val="FFF7C7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under the hoo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5F142B-5A5B-F90F-B80A-467D941544C7}"/>
              </a:ext>
            </a:extLst>
          </p:cNvPr>
          <p:cNvSpPr/>
          <p:nvPr/>
        </p:nvSpPr>
        <p:spPr>
          <a:xfrm>
            <a:off x="576531" y="444191"/>
            <a:ext cx="11198694" cy="998221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2860" rIns="45720" bIns="2286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4000" b="1" i="0" u="none" strike="noStrike" kern="1200" cap="none" spc="0" normalizeH="0" baseline="0" noProof="0" dirty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I has been the silent revolutioniz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380564-D781-354B-C823-BF8A8122E427}"/>
              </a:ext>
            </a:extLst>
          </p:cNvPr>
          <p:cNvSpPr/>
          <p:nvPr/>
        </p:nvSpPr>
        <p:spPr>
          <a:xfrm>
            <a:off x="1" y="5944266"/>
            <a:ext cx="12192000" cy="91373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edictive AI</a:t>
            </a:r>
            <a:endParaRPr kumimoji="0" lang="nl-BE" sz="3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6B80A67-EFD8-F955-6B6F-68565DC02797}"/>
              </a:ext>
            </a:extLst>
          </p:cNvPr>
          <p:cNvSpPr/>
          <p:nvPr/>
        </p:nvSpPr>
        <p:spPr>
          <a:xfrm>
            <a:off x="2094482" y="2009302"/>
            <a:ext cx="3667126" cy="2412000"/>
          </a:xfrm>
          <a:prstGeom prst="roundRect">
            <a:avLst/>
          </a:prstGeom>
          <a:solidFill>
            <a:srgbClr val="FFF7C7">
              <a:alpha val="89804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 our daily lives</a:t>
            </a:r>
            <a:endParaRPr kumimoji="0" lang="nl-BE" sz="2200" b="1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1DC578D-DCCC-E159-EE57-EF81B96D5A5A}"/>
              </a:ext>
            </a:extLst>
          </p:cNvPr>
          <p:cNvSpPr>
            <a:spLocks/>
          </p:cNvSpPr>
          <p:nvPr/>
        </p:nvSpPr>
        <p:spPr>
          <a:xfrm>
            <a:off x="6430392" y="2009302"/>
            <a:ext cx="3667126" cy="241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… and at Telenet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48CB94D2-AA1C-63E4-5313-07E56058D8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860" y="3095244"/>
            <a:ext cx="790013" cy="815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Facebook - Wikipedia">
            <a:extLst>
              <a:ext uri="{FF2B5EF4-FFF2-40B4-BE49-F238E27FC236}">
                <a16:creationId xmlns:a16="http://schemas.microsoft.com/office/drawing/2014/main" id="{14815A9A-727A-0C21-8347-B5AF33FBE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5837" y="3103293"/>
            <a:ext cx="799400" cy="79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3BBE7618-DD42-0B1B-CF93-75B53F3EB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201" y="3082448"/>
            <a:ext cx="586462" cy="84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 descr="Bullseye with solid fill">
            <a:extLst>
              <a:ext uri="{FF2B5EF4-FFF2-40B4-BE49-F238E27FC236}">
                <a16:creationId xmlns:a16="http://schemas.microsoft.com/office/drawing/2014/main" id="{41A94672-4EB7-131B-7505-082D21983C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99019" y="2943910"/>
            <a:ext cx="923240" cy="923240"/>
          </a:xfrm>
          <a:prstGeom prst="rect">
            <a:avLst/>
          </a:prstGeom>
        </p:spPr>
      </p:pic>
      <p:pic>
        <p:nvPicPr>
          <p:cNvPr id="7" name="Graphic 6" descr="Work from home Wi-Fi with solid fill">
            <a:extLst>
              <a:ext uri="{FF2B5EF4-FFF2-40B4-BE49-F238E27FC236}">
                <a16:creationId xmlns:a16="http://schemas.microsoft.com/office/drawing/2014/main" id="{8C7956BD-80FC-A46A-D133-391653042D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32535" y="2943910"/>
            <a:ext cx="923240" cy="923240"/>
          </a:xfrm>
          <a:prstGeom prst="rect">
            <a:avLst/>
          </a:prstGeom>
        </p:spPr>
      </p:pic>
      <p:pic>
        <p:nvPicPr>
          <p:cNvPr id="20" name="Graphic 19" descr="Cell Tower with solid fill">
            <a:extLst>
              <a:ext uri="{FF2B5EF4-FFF2-40B4-BE49-F238E27FC236}">
                <a16:creationId xmlns:a16="http://schemas.microsoft.com/office/drawing/2014/main" id="{895A8035-303C-FA68-5D6C-A7D27AAB977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966050" y="2979381"/>
            <a:ext cx="852297" cy="852297"/>
          </a:xfrm>
          <a:prstGeom prst="rect">
            <a:avLst/>
          </a:prstGeom>
        </p:spPr>
      </p:pic>
      <p:sp>
        <p:nvSpPr>
          <p:cNvPr id="14" name="TextBox 16">
            <a:extLst>
              <a:ext uri="{FF2B5EF4-FFF2-40B4-BE49-F238E27FC236}">
                <a16:creationId xmlns:a16="http://schemas.microsoft.com/office/drawing/2014/main" id="{4A5DB9BC-0B10-ACCF-B387-0F42A9ADD3AB}"/>
              </a:ext>
            </a:extLst>
          </p:cNvPr>
          <p:cNvSpPr txBox="1"/>
          <p:nvPr/>
        </p:nvSpPr>
        <p:spPr>
          <a:xfrm>
            <a:off x="6714387" y="3815767"/>
            <a:ext cx="886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o1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5" name="TextBox 16">
            <a:extLst>
              <a:ext uri="{FF2B5EF4-FFF2-40B4-BE49-F238E27FC236}">
                <a16:creationId xmlns:a16="http://schemas.microsoft.com/office/drawing/2014/main" id="{EE3D088A-79AB-D752-6472-F01DCA7A732E}"/>
              </a:ext>
            </a:extLst>
          </p:cNvPr>
          <p:cNvSpPr txBox="1"/>
          <p:nvPr/>
        </p:nvSpPr>
        <p:spPr>
          <a:xfrm>
            <a:off x="7849734" y="3826887"/>
            <a:ext cx="886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HC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AFA60B1F-3C1F-FBF8-7449-B2A5C5AE6C8B}"/>
              </a:ext>
            </a:extLst>
          </p:cNvPr>
          <p:cNvSpPr txBox="1"/>
          <p:nvPr/>
        </p:nvSpPr>
        <p:spPr>
          <a:xfrm>
            <a:off x="8948802" y="3815201"/>
            <a:ext cx="886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VBN</a:t>
            </a: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98744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white and blue car drifting on wall">
            <a:extLst>
              <a:ext uri="{FF2B5EF4-FFF2-40B4-BE49-F238E27FC236}">
                <a16:creationId xmlns:a16="http://schemas.microsoft.com/office/drawing/2014/main" id="{35C8790D-4E7B-577F-65E9-E367F08E02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" r="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B396B6-B3BC-29FD-8CB1-FDFCA6E3A85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F7F7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Graphic 7" descr="Lightning bolt with solid fill">
            <a:extLst>
              <a:ext uri="{FF2B5EF4-FFF2-40B4-BE49-F238E27FC236}">
                <a16:creationId xmlns:a16="http://schemas.microsoft.com/office/drawing/2014/main" id="{2198CAA5-9978-C72B-FA25-5E295FDAA6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268951" y="422492"/>
            <a:ext cx="1676400" cy="16764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BE169EA-1DB9-5D1C-4B5E-1627FF6AB388}"/>
              </a:ext>
            </a:extLst>
          </p:cNvPr>
          <p:cNvCxnSpPr/>
          <p:nvPr/>
        </p:nvCxnSpPr>
        <p:spPr>
          <a:xfrm>
            <a:off x="12192000" y="0"/>
            <a:ext cx="0" cy="6858000"/>
          </a:xfrm>
          <a:prstGeom prst="line">
            <a:avLst/>
          </a:prstGeom>
          <a:ln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>
            <a:extLst>
              <a:ext uri="{FF2B5EF4-FFF2-40B4-BE49-F238E27FC236}">
                <a16:creationId xmlns:a16="http://schemas.microsoft.com/office/drawing/2014/main" id="{0CB87C1F-55E2-F14F-C6F7-9BE10C4982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649" y="2147683"/>
            <a:ext cx="1676400" cy="167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3F930A0-F871-7AC7-B6A4-2471C1CA05DE}"/>
              </a:ext>
            </a:extLst>
          </p:cNvPr>
          <p:cNvSpPr/>
          <p:nvPr/>
        </p:nvSpPr>
        <p:spPr>
          <a:xfrm>
            <a:off x="2925403" y="4302775"/>
            <a:ext cx="6283912" cy="105762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5750" b="0" i="0" u="none" strike="noStrike" kern="1200" cap="none" spc="0" normalizeH="0" baseline="0" noProof="0" dirty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ChatGP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700" b="0" i="0" u="none" strike="noStrike" kern="1200" cap="none" spc="0" normalizeH="0" baseline="0" noProof="0" dirty="0">
                <a:ln>
                  <a:noFill/>
                </a:ln>
                <a:solidFill>
                  <a:srgbClr val="FFF7C7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OOK THE WORLD BY STO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700" b="0" i="0" u="none" strike="noStrike" kern="1200" cap="none" spc="0" normalizeH="0" baseline="0" noProof="0" dirty="0">
              <a:ln>
                <a:noFill/>
              </a:ln>
              <a:solidFill>
                <a:srgbClr val="FFF7C7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7AEAC19-8E7D-7070-3141-6631915BDE89}"/>
              </a:ext>
            </a:extLst>
          </p:cNvPr>
          <p:cNvSpPr/>
          <p:nvPr/>
        </p:nvSpPr>
        <p:spPr>
          <a:xfrm>
            <a:off x="1" y="5944266"/>
            <a:ext cx="12192000" cy="91373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enerative AI</a:t>
            </a:r>
            <a:endParaRPr kumimoji="0" lang="nl-BE" sz="3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442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5F50DE-1971-A1BF-D232-A28AA804F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F50DE-1971-A1BF-D232-A28AA804F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E207604F-C0F2-5C97-9C1E-E1F802EC6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1" r="26693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0467117-AA21-607E-A241-B34EA0E6D125}"/>
              </a:ext>
            </a:extLst>
          </p:cNvPr>
          <p:cNvSpPr/>
          <p:nvPr/>
        </p:nvSpPr>
        <p:spPr>
          <a:xfrm>
            <a:off x="1004638" y="3202277"/>
            <a:ext cx="3943075" cy="2665263"/>
          </a:xfrm>
          <a:prstGeom prst="round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B8FD3432-83E6-B5EC-57A7-C38A595C2B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3"/>
          <a:stretch/>
        </p:blipFill>
        <p:spPr bwMode="auto">
          <a:xfrm>
            <a:off x="6096000" y="1"/>
            <a:ext cx="61009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4CE93FE-2369-1741-ED1B-7193D412ACDC}"/>
              </a:ext>
            </a:extLst>
          </p:cNvPr>
          <p:cNvSpPr/>
          <p:nvPr/>
        </p:nvSpPr>
        <p:spPr>
          <a:xfrm>
            <a:off x="-1" y="676275"/>
            <a:ext cx="12196959" cy="1872000"/>
          </a:xfrm>
          <a:prstGeom prst="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420935-7A0E-9211-A159-95A92306332B}"/>
              </a:ext>
            </a:extLst>
          </p:cNvPr>
          <p:cNvCxnSpPr/>
          <p:nvPr/>
        </p:nvCxnSpPr>
        <p:spPr>
          <a:xfrm>
            <a:off x="6096001" y="0"/>
            <a:ext cx="0" cy="6858000"/>
          </a:xfrm>
          <a:prstGeom prst="line">
            <a:avLst/>
          </a:prstGeom>
          <a:ln w="1079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A643DB9D-4E72-7C32-13C0-0AAB153F1DE1}"/>
              </a:ext>
            </a:extLst>
          </p:cNvPr>
          <p:cNvSpPr txBox="1"/>
          <p:nvPr/>
        </p:nvSpPr>
        <p:spPr>
          <a:xfrm>
            <a:off x="3059029" y="4074356"/>
            <a:ext cx="61180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1800" b="0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89C0E25C-D5F1-9754-667B-021726360B71}"/>
              </a:ext>
            </a:extLst>
          </p:cNvPr>
          <p:cNvSpPr txBox="1"/>
          <p:nvPr/>
        </p:nvSpPr>
        <p:spPr>
          <a:xfrm>
            <a:off x="1414894" y="3607482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 predictions</a:t>
            </a: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0FA56721-0CB7-8352-8CFB-88A17DA8D16E}"/>
              </a:ext>
            </a:extLst>
          </p:cNvPr>
          <p:cNvSpPr txBox="1"/>
          <p:nvPr/>
        </p:nvSpPr>
        <p:spPr>
          <a:xfrm>
            <a:off x="1414894" y="4357936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ctured data</a:t>
            </a:r>
            <a:endParaRPr kumimoji="0" lang="nl-BE" sz="2000" b="1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DABE1DDF-7AFC-0DDD-DA59-71D7D64F8A58}"/>
              </a:ext>
            </a:extLst>
          </p:cNvPr>
          <p:cNvSpPr txBox="1"/>
          <p:nvPr/>
        </p:nvSpPr>
        <p:spPr>
          <a:xfrm>
            <a:off x="1414895" y="5108390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 decisioning</a:t>
            </a:r>
            <a:endParaRPr kumimoji="0" lang="nl-BE" sz="2000" b="1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F8E8F78-FE0E-BA5D-10B0-A0F33C705EA0}"/>
              </a:ext>
            </a:extLst>
          </p:cNvPr>
          <p:cNvSpPr/>
          <p:nvPr/>
        </p:nvSpPr>
        <p:spPr>
          <a:xfrm>
            <a:off x="5702596" y="4168968"/>
            <a:ext cx="786810" cy="786809"/>
          </a:xfrm>
          <a:prstGeom prst="ellipse">
            <a:avLst/>
          </a:prstGeom>
          <a:solidFill>
            <a:schemeClr val="bg2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FFC4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C42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99C228D-4BB7-D7E3-68AE-35BB195B0A2C}"/>
              </a:ext>
            </a:extLst>
          </p:cNvPr>
          <p:cNvSpPr/>
          <p:nvPr/>
        </p:nvSpPr>
        <p:spPr>
          <a:xfrm>
            <a:off x="7314065" y="3202277"/>
            <a:ext cx="3943075" cy="2665263"/>
          </a:xfrm>
          <a:prstGeom prst="round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16">
            <a:extLst>
              <a:ext uri="{FF2B5EF4-FFF2-40B4-BE49-F238E27FC236}">
                <a16:creationId xmlns:a16="http://schemas.microsoft.com/office/drawing/2014/main" id="{B063C7D0-DC8C-3A07-128A-92B1A17A44EC}"/>
              </a:ext>
            </a:extLst>
          </p:cNvPr>
          <p:cNvSpPr txBox="1"/>
          <p:nvPr/>
        </p:nvSpPr>
        <p:spPr>
          <a:xfrm>
            <a:off x="7724322" y="3607482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new content</a:t>
            </a:r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106107BD-D69D-013F-9B1B-727EC3C8884A}"/>
              </a:ext>
            </a:extLst>
          </p:cNvPr>
          <p:cNvSpPr txBox="1"/>
          <p:nvPr/>
        </p:nvSpPr>
        <p:spPr>
          <a:xfrm>
            <a:off x="7724322" y="4286220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structured data</a:t>
            </a:r>
            <a:endParaRPr kumimoji="0" lang="nl-BE" sz="2000" b="1" i="0" u="none" strike="noStrike" kern="1200" cap="none" spc="0" normalizeH="0" baseline="0" noProof="0" dirty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16">
            <a:extLst>
              <a:ext uri="{FF2B5EF4-FFF2-40B4-BE49-F238E27FC236}">
                <a16:creationId xmlns:a16="http://schemas.microsoft.com/office/drawing/2014/main" id="{70BD5AB2-500C-5ACC-B6F8-F202BC08F8EB}"/>
              </a:ext>
            </a:extLst>
          </p:cNvPr>
          <p:cNvSpPr txBox="1"/>
          <p:nvPr/>
        </p:nvSpPr>
        <p:spPr>
          <a:xfrm>
            <a:off x="7724322" y="4991852"/>
            <a:ext cx="35328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l-BE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versational</a:t>
            </a:r>
            <a:endParaRPr kumimoji="0" lang="nl-BE" sz="2000" b="1" i="0" u="none" strike="noStrike" kern="1200" cap="none" spc="0" normalizeH="0" baseline="0" noProof="0">
              <a:ln>
                <a:noFill/>
              </a:ln>
              <a:solidFill>
                <a:srgbClr val="291D1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321FB7-E9BE-ACD3-E3E7-858CBFF9A6FD}"/>
              </a:ext>
            </a:extLst>
          </p:cNvPr>
          <p:cNvSpPr/>
          <p:nvPr/>
        </p:nvSpPr>
        <p:spPr>
          <a:xfrm>
            <a:off x="539115" y="1350007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edictive AI</a:t>
            </a:r>
            <a:endParaRPr kumimoji="0" lang="nl-BE" sz="30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7B86417-E9AA-B2FA-4A36-E3A266E3C5AA}"/>
              </a:ext>
            </a:extLst>
          </p:cNvPr>
          <p:cNvSpPr/>
          <p:nvPr/>
        </p:nvSpPr>
        <p:spPr>
          <a:xfrm>
            <a:off x="6635115" y="1350007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enerative AI</a:t>
            </a:r>
            <a:endParaRPr kumimoji="0" lang="nl-BE" sz="30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15DAFDAC-5E6D-55F6-167B-2AD1FE7EDB4E}"/>
              </a:ext>
            </a:extLst>
          </p:cNvPr>
          <p:cNvSpPr/>
          <p:nvPr/>
        </p:nvSpPr>
        <p:spPr>
          <a:xfrm>
            <a:off x="1608939" y="845820"/>
            <a:ext cx="2878123" cy="50006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C4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world we know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31B3C52-33A8-1702-9B1F-32C1D77FBE86}"/>
              </a:ext>
            </a:extLst>
          </p:cNvPr>
          <p:cNvSpPr/>
          <p:nvPr/>
        </p:nvSpPr>
        <p:spPr>
          <a:xfrm>
            <a:off x="7704938" y="845820"/>
            <a:ext cx="2878123" cy="500063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C42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ew world</a:t>
            </a:r>
          </a:p>
        </p:txBody>
      </p:sp>
    </p:spTree>
    <p:extLst>
      <p:ext uri="{BB962C8B-B14F-4D97-AF65-F5344CB8AC3E}">
        <p14:creationId xmlns:p14="http://schemas.microsoft.com/office/powerpoint/2010/main" val="25275938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5F50DE-1971-A1BF-D232-A28AA804F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F50DE-1971-A1BF-D232-A28AA804F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>
            <a:extLst>
              <a:ext uri="{FF2B5EF4-FFF2-40B4-BE49-F238E27FC236}">
                <a16:creationId xmlns:a16="http://schemas.microsoft.com/office/drawing/2014/main" id="{B8FD3432-83E6-B5EC-57A7-C38A595C2B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3"/>
          <a:stretch/>
        </p:blipFill>
        <p:spPr bwMode="auto">
          <a:xfrm>
            <a:off x="6096000" y="1"/>
            <a:ext cx="61009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207604F-C0F2-5C97-9C1E-E1F802EC6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1" r="26693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4CE93FE-2369-1741-ED1B-7193D412ACDC}"/>
              </a:ext>
            </a:extLst>
          </p:cNvPr>
          <p:cNvSpPr/>
          <p:nvPr/>
        </p:nvSpPr>
        <p:spPr>
          <a:xfrm>
            <a:off x="-1" y="1085850"/>
            <a:ext cx="12196959" cy="1695450"/>
          </a:xfrm>
          <a:prstGeom prst="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420935-7A0E-9211-A159-95A92306332B}"/>
              </a:ext>
            </a:extLst>
          </p:cNvPr>
          <p:cNvCxnSpPr/>
          <p:nvPr/>
        </p:nvCxnSpPr>
        <p:spPr>
          <a:xfrm>
            <a:off x="6096001" y="0"/>
            <a:ext cx="0" cy="6858000"/>
          </a:xfrm>
          <a:prstGeom prst="line">
            <a:avLst/>
          </a:prstGeom>
          <a:ln w="1079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784F11FA-4876-DD0A-7E27-92ED5E1B9E59}"/>
              </a:ext>
            </a:extLst>
          </p:cNvPr>
          <p:cNvSpPr/>
          <p:nvPr/>
        </p:nvSpPr>
        <p:spPr>
          <a:xfrm>
            <a:off x="539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We have been exploiting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edic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for a while…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6783-F1BC-91A1-52A3-9AF3CAD3BF73}"/>
              </a:ext>
            </a:extLst>
          </p:cNvPr>
          <p:cNvSpPr/>
          <p:nvPr/>
        </p:nvSpPr>
        <p:spPr>
          <a:xfrm>
            <a:off x="6635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… but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enera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as us exploring a new world 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01BB452-4D4A-B14A-F8B7-864B4327995C}"/>
              </a:ext>
            </a:extLst>
          </p:cNvPr>
          <p:cNvSpPr/>
          <p:nvPr/>
        </p:nvSpPr>
        <p:spPr>
          <a:xfrm>
            <a:off x="1608939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world we kno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7759AB3-9FFB-1C98-CD91-CF04C337E953}"/>
              </a:ext>
            </a:extLst>
          </p:cNvPr>
          <p:cNvSpPr/>
          <p:nvPr/>
        </p:nvSpPr>
        <p:spPr>
          <a:xfrm>
            <a:off x="7704938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ew world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EC4254A-CCFB-4C58-722E-A10E14719EC0}"/>
              </a:ext>
            </a:extLst>
          </p:cNvPr>
          <p:cNvSpPr/>
          <p:nvPr/>
        </p:nvSpPr>
        <p:spPr>
          <a:xfrm>
            <a:off x="3249707" y="332248"/>
            <a:ext cx="5692583" cy="1000125"/>
          </a:xfrm>
          <a:prstGeom prst="roundRect">
            <a:avLst/>
          </a:prstGeom>
          <a:solidFill>
            <a:srgbClr val="FFC42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sm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t Telenet group…</a:t>
            </a:r>
          </a:p>
        </p:txBody>
      </p:sp>
    </p:spTree>
    <p:extLst>
      <p:ext uri="{BB962C8B-B14F-4D97-AF65-F5344CB8AC3E}">
        <p14:creationId xmlns:p14="http://schemas.microsoft.com/office/powerpoint/2010/main" val="36317651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5F50DE-1971-A1BF-D232-A28AA804F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F50DE-1971-A1BF-D232-A28AA804F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>
            <a:extLst>
              <a:ext uri="{FF2B5EF4-FFF2-40B4-BE49-F238E27FC236}">
                <a16:creationId xmlns:a16="http://schemas.microsoft.com/office/drawing/2014/main" id="{B8FD3432-83E6-B5EC-57A7-C38A595C2B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3"/>
          <a:stretch/>
        </p:blipFill>
        <p:spPr bwMode="auto">
          <a:xfrm>
            <a:off x="6096000" y="1"/>
            <a:ext cx="61009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207604F-C0F2-5C97-9C1E-E1F802EC6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1" r="26693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4CE93FE-2369-1741-ED1B-7193D412ACDC}"/>
              </a:ext>
            </a:extLst>
          </p:cNvPr>
          <p:cNvSpPr/>
          <p:nvPr/>
        </p:nvSpPr>
        <p:spPr>
          <a:xfrm>
            <a:off x="-1" y="1085850"/>
            <a:ext cx="12196959" cy="1695450"/>
          </a:xfrm>
          <a:prstGeom prst="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4F11FA-4876-DD0A-7E27-92ED5E1B9E59}"/>
              </a:ext>
            </a:extLst>
          </p:cNvPr>
          <p:cNvSpPr/>
          <p:nvPr/>
        </p:nvSpPr>
        <p:spPr>
          <a:xfrm>
            <a:off x="539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We have been exploiting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edic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for a while…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6783-F1BC-91A1-52A3-9AF3CAD3BF73}"/>
              </a:ext>
            </a:extLst>
          </p:cNvPr>
          <p:cNvSpPr/>
          <p:nvPr/>
        </p:nvSpPr>
        <p:spPr>
          <a:xfrm>
            <a:off x="6635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… but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enera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as us exploring a new world 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01BB452-4D4A-B14A-F8B7-864B4327995C}"/>
              </a:ext>
            </a:extLst>
          </p:cNvPr>
          <p:cNvSpPr/>
          <p:nvPr/>
        </p:nvSpPr>
        <p:spPr>
          <a:xfrm>
            <a:off x="1608939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world we kno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7759AB3-9FFB-1C98-CD91-CF04C337E953}"/>
              </a:ext>
            </a:extLst>
          </p:cNvPr>
          <p:cNvSpPr/>
          <p:nvPr/>
        </p:nvSpPr>
        <p:spPr>
          <a:xfrm>
            <a:off x="7704938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ew worl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AFCAAA-F015-D2C8-1672-3412D02C4363}"/>
              </a:ext>
            </a:extLst>
          </p:cNvPr>
          <p:cNvSpPr/>
          <p:nvPr/>
        </p:nvSpPr>
        <p:spPr>
          <a:xfrm>
            <a:off x="6096000" y="0"/>
            <a:ext cx="6100958" cy="6858000"/>
          </a:xfrm>
          <a:prstGeom prst="rect">
            <a:avLst/>
          </a:prstGeom>
          <a:solidFill>
            <a:srgbClr val="F2F2F2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420935-7A0E-9211-A159-95A92306332B}"/>
              </a:ext>
            </a:extLst>
          </p:cNvPr>
          <p:cNvCxnSpPr/>
          <p:nvPr/>
        </p:nvCxnSpPr>
        <p:spPr>
          <a:xfrm>
            <a:off x="6096001" y="0"/>
            <a:ext cx="0" cy="6858000"/>
          </a:xfrm>
          <a:prstGeom prst="line">
            <a:avLst/>
          </a:prstGeom>
          <a:ln w="1079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CD4CEA2-F2A7-45AB-E6A6-156A10B61224}"/>
              </a:ext>
            </a:extLst>
          </p:cNvPr>
          <p:cNvSpPr/>
          <p:nvPr/>
        </p:nvSpPr>
        <p:spPr>
          <a:xfrm>
            <a:off x="3249707" y="332248"/>
            <a:ext cx="5692583" cy="1000125"/>
          </a:xfrm>
          <a:prstGeom prst="roundRect">
            <a:avLst/>
          </a:prstGeom>
          <a:solidFill>
            <a:srgbClr val="FFC42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sm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t Telenet group…</a:t>
            </a:r>
          </a:p>
        </p:txBody>
      </p:sp>
    </p:spTree>
    <p:extLst>
      <p:ext uri="{BB962C8B-B14F-4D97-AF65-F5344CB8AC3E}">
        <p14:creationId xmlns:p14="http://schemas.microsoft.com/office/powerpoint/2010/main" val="80122672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Telenet op LinkedIn: #check">
            <a:extLst>
              <a:ext uri="{FF2B5EF4-FFF2-40B4-BE49-F238E27FC236}">
                <a16:creationId xmlns:a16="http://schemas.microsoft.com/office/drawing/2014/main" id="{1F524039-96E5-9DEC-1104-2F54B85FD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00"/>
            <a:ext cx="8799988" cy="495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 yellow and white sign with white text&#10;&#10;Description automatically generated">
            <a:extLst>
              <a:ext uri="{FF2B5EF4-FFF2-40B4-BE49-F238E27FC236}">
                <a16:creationId xmlns:a16="http://schemas.microsoft.com/office/drawing/2014/main" id="{0161D7A0-54E2-7C23-8423-E36EC031E6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3499" y="0"/>
            <a:ext cx="339850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1615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25F50DE-1971-A1BF-D232-A28AA804F0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5F50DE-1971-A1BF-D232-A28AA804F0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>
            <a:extLst>
              <a:ext uri="{FF2B5EF4-FFF2-40B4-BE49-F238E27FC236}">
                <a16:creationId xmlns:a16="http://schemas.microsoft.com/office/drawing/2014/main" id="{B8FD3432-83E6-B5EC-57A7-C38A595C2B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73"/>
          <a:stretch/>
        </p:blipFill>
        <p:spPr bwMode="auto">
          <a:xfrm>
            <a:off x="6096000" y="1"/>
            <a:ext cx="610095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207604F-C0F2-5C97-9C1E-E1F802EC6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71" r="26693"/>
          <a:stretch/>
        </p:blipFill>
        <p:spPr bwMode="auto">
          <a:xfrm>
            <a:off x="0" y="0"/>
            <a:ext cx="609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4CE93FE-2369-1741-ED1B-7193D412ACDC}"/>
              </a:ext>
            </a:extLst>
          </p:cNvPr>
          <p:cNvSpPr/>
          <p:nvPr/>
        </p:nvSpPr>
        <p:spPr>
          <a:xfrm>
            <a:off x="-1" y="1085850"/>
            <a:ext cx="12196959" cy="1695450"/>
          </a:xfrm>
          <a:prstGeom prst="rect">
            <a:avLst/>
          </a:prstGeom>
          <a:solidFill>
            <a:srgbClr val="F2F2F2">
              <a:alpha val="9411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4F11FA-4876-DD0A-7E27-92ED5E1B9E59}"/>
              </a:ext>
            </a:extLst>
          </p:cNvPr>
          <p:cNvSpPr/>
          <p:nvPr/>
        </p:nvSpPr>
        <p:spPr>
          <a:xfrm>
            <a:off x="539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We have been exploiting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redic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for a while…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9BE6783-F1BC-91A1-52A3-9AF3CAD3BF73}"/>
              </a:ext>
            </a:extLst>
          </p:cNvPr>
          <p:cNvSpPr/>
          <p:nvPr/>
        </p:nvSpPr>
        <p:spPr>
          <a:xfrm>
            <a:off x="6635115" y="1476764"/>
            <a:ext cx="5017770" cy="89154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… but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291D18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Generative AI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C421">
                    <a:lumMod val="10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has us exploring a new world </a:t>
            </a:r>
            <a:endParaRPr kumimoji="0" lang="nl-BE" sz="2400" b="0" i="0" u="none" strike="noStrike" kern="1200" cap="none" spc="0" normalizeH="0" baseline="0" noProof="0">
              <a:ln>
                <a:noFill/>
              </a:ln>
              <a:solidFill>
                <a:srgbClr val="FFC421">
                  <a:lumMod val="10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01BB452-4D4A-B14A-F8B7-864B4327995C}"/>
              </a:ext>
            </a:extLst>
          </p:cNvPr>
          <p:cNvSpPr/>
          <p:nvPr/>
        </p:nvSpPr>
        <p:spPr>
          <a:xfrm>
            <a:off x="1608939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world we know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7759AB3-9FFB-1C98-CD91-CF04C337E953}"/>
              </a:ext>
            </a:extLst>
          </p:cNvPr>
          <p:cNvSpPr/>
          <p:nvPr/>
        </p:nvSpPr>
        <p:spPr>
          <a:xfrm>
            <a:off x="7704938" y="2512695"/>
            <a:ext cx="2878123" cy="500063"/>
          </a:xfrm>
          <a:prstGeom prst="roundRect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91D1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new worl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AFCAAA-F015-D2C8-1672-3412D02C4363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F2F2F2">
              <a:alpha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1420935-7A0E-9211-A159-95A92306332B}"/>
              </a:ext>
            </a:extLst>
          </p:cNvPr>
          <p:cNvCxnSpPr/>
          <p:nvPr/>
        </p:nvCxnSpPr>
        <p:spPr>
          <a:xfrm>
            <a:off x="6096001" y="0"/>
            <a:ext cx="0" cy="6858000"/>
          </a:xfrm>
          <a:prstGeom prst="line">
            <a:avLst/>
          </a:prstGeom>
          <a:ln w="1079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1D424DE-EB44-51AA-0F8A-E4252219C17F}"/>
              </a:ext>
            </a:extLst>
          </p:cNvPr>
          <p:cNvSpPr/>
          <p:nvPr/>
        </p:nvSpPr>
        <p:spPr>
          <a:xfrm>
            <a:off x="3249707" y="332248"/>
            <a:ext cx="5692583" cy="1000125"/>
          </a:xfrm>
          <a:prstGeom prst="roundRect">
            <a:avLst/>
          </a:prstGeom>
          <a:solidFill>
            <a:srgbClr val="FFC42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sm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t Telenet group…</a:t>
            </a:r>
          </a:p>
        </p:txBody>
      </p:sp>
    </p:spTree>
    <p:extLst>
      <p:ext uri="{BB962C8B-B14F-4D97-AF65-F5344CB8AC3E}">
        <p14:creationId xmlns:p14="http://schemas.microsoft.com/office/powerpoint/2010/main" val="638818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R0cuPTkKsQVLLKux1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R0cuPTkKsQVLLKux1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PRODUCTIVITY_GALLERY_TYPE" val="_whole"/>
  <p:tag name="PPTPRODUCTIVITY_GALLERY_NAME" val="KI8dpzixRB0mToTA8/VbT+W5WE2KnU1gQWLXSMKXL70="/>
  <p:tag name="PPTPRODUCTIVITY_GALLERY_IMAGE" val="iVBORw0KGgoAAAANSUhEUgAACgAAAAWgCAMAAACl3urtAAAAAXNSR0IArs4c6QAAAARnQU1BAACxjwv8YQUAAAGAUExURfb29uDg4NjY2Ofn5+Pj4/Ly8tzc3H9/f7u7u/jpwPfv2/ft1Pjtzvfz6fb07/jrx/nipfzXcf3QVvzRXPvdi/nkrJ2dnaysrJWVlf3MSP/DIPvYd//FJ/7KO/3OT6SkpMLCwvvafvrdkfzTY+vr64qKivnouvrhn6ioqKCgoP7GLfnms/fx4vzVav7INP7MQrOzs83NzYODg/rfmL6+vtHR0e/v7/vchbe3t6+vr8nJycbGxpmZmdXV1ZKSkoaGho6Ojv///97e3hEREQYGBvf39yoqKurq6nJycgAAADIyMvX19VBQUPv7+1RUVE1NTcPDw6enpx4eHn5+fh0dHUdHR2FhYWdnZxgYGAsLCyUlJURERGJiYj8/P3t7e1lZWVFRUXZ2dgAAAAAAAAAAAAAAAAAAAAAAAAAAAAAAAAAAAAAAAAAAAAAAAAAAAAAAAAAAAAAAAAAAAAAAAAAAAAAAAAAAAAAAAAAAAAAAAAAAAAAAAAAAAAAAAAAAAAAAAK6sy88AAABjdFJOU///////////////////////////////////////////////////////////////////////////////////////////////////////////////////////////////////AHc1DpsAAAAJcEhZcwAAFiUAABYlAUlSJPAAAP2qSURBVHhe7L3LbmVHjjXcI8OZSHclBDUKdnpmlAYGSgkjAf0TT3Is6CHq/V/iJ7l4WYzg3mcrbXf11y2SIhcvETv2Pc4+F/3H09evX9/+3v7e/t7+3v7e/t7+3v7e/v7v/P3H16enp7e/t7+3v7e/t7+3v7e/t7+3v/87fzIBfOM3fuM3fuM3fuM3fuP/Q6xPAGUemP4bv/Ebv/Ebv/Ebv/Eb/69mkf+I2V89FHz7e/t7+3v7e/t7+3v7e/t7+/tf+ycTv7cngG/8xm/8xm/8xm/8xv+XWOQ/Cr7ZN/tm3+ybfbNv9s2+2f8D1r4FHHgxb343b343b343b343b343b343b343b343b343f4lf3wKGlCL45qe8+aEIvvkpb34ogm9+ypsfiuCbn/LmhyL45qf8SX65/Qlg4Tf7Zt/sm32zb/bNvtk3+7/JGnS3vgQSlvLBBJUJggkqEwQTVCYIJqhMEExQmSCYoDJBMEFlgmCCygTBBJUJggkqEwQTVCYIJqhMEExQmSCYoDJBMEFlgmCCygTBBJUJggkqEwQTVCYIJqhMEExQmSCYoDJBMEFlgmCCygTBBJUJggkqEwQTVCYIJqhMEExQmSCYoDJBMEFlgmCCygTBBJUJggkqEwQTVCYIJqhMEExQmSCYoDJBMEFlgmCCygTBBJUJggkqEwQTVCYIJqhMEExQmSCYoDJBMEFlgmCCygTBBJUJggkqEwQTVCYIJqhMEExQmSCYoDJBMEFlgmCCygTBBJUJggkqEwQTVCYIJqhMEExQmSCYoDJBMEFlgmCCygTBBJUJggkqEwQTVCYIJqhMEExQmSCYoDJBMEFlgmCCygTBBJUJggkqEwQTVCYIJqhMEExQmSCYoDJBMMFgiLC/BQynQCizhd1xELawOw7CFnbHQdjC7jgIW9gdB2ELu+MgbGF3HIQt7I6DsIXdcRC2sDsOwhZ2x0HYwu44CFvYHQdhC7vjIGxhdxyELeyOg7CF3XEQtrA7DsIWdsdB2MLuOAhb2B0HYQu74yBsYXcchC3sjoOwhd1xELawOw7CFnbHQdjC7jgIW9gdB2ELu+MgbGF3HIQt7I6DsIXdcRC2sDsOwhZ2x0HYwu44CFvYHQdhC7vjIGxhdxyELeyOg7CF3XEQtrA7DsIWdsdB2MLuOAhb2B0HYQu74yBsYXcchC3sjoOwhd1xELawOw7CFnbHQdjC7jgIW9gdB2ELu+MgbGF3HIQt7I6DsIXdcRC2sDsOwhZ2x0HYwu44CFvYHQdhC7vjIGxhdxyELeyOg7CF3XEQtrA7DsIWdsdB2MLuOAhb2B0HYQu74yBsYXcchC3sjoOwhd1xELawOw7CFnbHQdjC7jgIW9gdB2ELu+MgbOEOzcu3gFO8ptyw4KaaBTfVLLipZsFNNQtuqllwU82Cm2oW3FSz4KaaBTfVLLipZsFNNQtuqllwU82Cm2oW3FSz4KaaBTfVLLipZsFNNQtuqllwU82Cm2oW3FSz4KaaBTfVLLipZsFNNQtuqllwU82Cm2oW3FSz4KaaBTfVLLipZsFNNQtuqllwU82Cm2oW3FSz4KaaBTfVLLipZsFNNQtuqllwU82Cm2oW3FSz4KaaBTfVLLipZsFNNQtuqllwU82Cm2oW3FSz4KaaBTfVLLipZsFNNQtuqllwU82Cm2oW3FSz4KaaBTfVLLipZsFNNQtuqllwU82Cm2oW3FSz4KaaBTfVLLipZsFNNQtuqllwU82WW5xPAMMN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cfUYMIxNZhwTA0mHFODCVuOsf0nEIPwA4ZNs+ByZlzOjMuZcTkzLmfG5cy4nBmXM+NyZlzOjMuZcTkzLmfG5cy4nBmXM+NyZlzOjMuZcTkzLmfG5cy4nBmXM+NyZlzOjMuZcTkzLmfG5cy4nBmXM+NyZlzOjMuZcTkzLmfG5cy4nBmXM+NyZlzOjMuZcTkzLmfG5cy4nBmXM+NyZlzOjMuZcTkzLmfG5cy4nBmXM+NyZlzOjMuZcTkzLmfG5cy4nBmXM+NyZlzOjMuZcTkzLmfG5cy4nBmXM+NyZlzOjMuZcTkzLmfGu5MmGBn+DGBKj5EfNk1Y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Km2VsqrBZxqY6Ls/+KI4JoEH4AQuxy6GWNAjeVUDwrgKCdxUQvKuA4F0FBO8qIHhXAcG7CgjeVUDwrgKCdxUQvKuA4F0FBO8qIHhXAcG7CgjeVUDwrgKCdxUQvKuA4F0FBO8qIHhXAcG7CgjeVUDwrgKCdxUQvKuA4F0FBO8qIHhXAcG7CgjeVUDwrgKCdxUQvKuA4F0FBO8qIHhXAcG7CgjeVUDwrgKCdxUQvKuA4F0FBO8qIHhXAcG7CgjeVUDwrgKCdxUQvKuA4F0FBO8qIHhXAcG7CgjeVUDwrgKCdxUQvKuA4F0FBO8qIHhXAcG7CgjeVUDwrgKCdxUQvKuA4F0FBO8qIHhXAcG7CgjeVUDwrgKCdxUQvKuA4F2lqHKQPr4EUirFVQ+KVMgRh5rjiEPNccSh5jjiUHMccag5jjjUHEccao4jDjXHEYea44hDzXHEoeY44lBzHHGoOY441BxHHGqOIw41xxGHmuOIQ81xxKHmOOJQcxxxqDmOONQcRxxqjiMONccRh5rjiEPNccSh5jjiUHMccag5jjjUHEccao4jDjXHEYea44hDzXHEoeY44lBzHHGoOY441BxHHGqOIw41xxGHmuOIQ81xxKHmOOJQcxxxqDmOONQcRxxqjiMONccRh5rjiEPNccSh5jjiUHMccag5jjjUHEccao4jDjXHEYea44hDzXHEoeY44lBzHHGoOY441BxHHGqOIw41xxGHmuOIQ81xxKHmOOJQcxxxqDmOONQcRxxqjiMONccRh5rjiEPNccSh5jjiUHMccag5xQyhU32N/wWsnOIOu8GQIzRHC83RQnO00BwtNEcLzdFCc7TQHC00RwvN0UJztNAcLTRHC83RQnO00BwtNEcLzdFCc7TQHC00RwvN0UJztNAcLTRHC83RQnO00BwtNEcLzdFCc7TQHC00RwvN0UJztNAcLTRHC83RQnO00BwtNEcLzdFCc7TQHC00RwvN0UJztNAcLTRHC83RQnO00BwtNEcLzdFCc7TQHC00RwvN0UJztNAcLTRHC83RQnO00BwtNEcLzdFCc7TQHC00RwvN0UJztNAcLTRHC83RQnO00BwtNGF3PPCVsU4H82dgmA+U2c4pXODGIaRsGoeQsmkcQsqmcQgpm8YhpGwah5CyaRxCyqZxCCmbxiGkbBqHkLJpHELKpnEIKZvGIaRsGoeQsmkcQsqmcQgpm8YhpGwah5CyaRxCyqZxCCmbxiGkbBqHkLJpHELKpnEIKZvGIaRsGoeQsmkcQsqmcQgpm8YhpGwah5CyaRxCyqZxCCmbxiGkbBqHkLJpHELKpnEIKZvGIaRsGoeQsmkcQsqmcQgpm8YhpGwah5CyaRxCyqZxCCmbxiGkbBqHkLJpHELKpnEIKZvGIaRsGoeQsmkcQsqmcQgpm8YhpGwah5CyaRxCyqZxCCmbxiGkbBqHkLJpHELKpnEIKZvGIaRsGoeQsmkcQsqmcQgpm8YhpGwah5CyaRxCyqZxCCmbxiGkbBqHkLJpHELKpnEIKZvGIaRsGoeQsmkcQsqmcQgpW26wS6EQZfoMIHR4g3LAUgwpFTAYUipgMKRUwGBIqYDBkFIBgyGlAgZDSgUMhpQKGAwpFTAYUipgMKRUwGBIqYDBkFIBgyGlAgZDSgUMhpQKGAwpFTAYUipgMKRUwGBIqYDBkFIBgyGlAgZDSgUMhpQKGAwpFTAYUipgMKRUwGBIqYDBkFIBgyGlAgZDSgUMhpQKGAwpFTAYUipgMKRUwGBIqYDBkFIBgyGlAgZDSgUMhpQKGAwpFTAYUipgMKRUwGBIqYDBkFIBgyGlAgZDSgUMhpQKGAwpFTAYUipgMKRUwGBIqYDBkFIBgyGlAgZDSgUMhpQKGAwpFTAYUipgMKRUwGBIqYDBkFIBgyGlAgZDSgUMhpQKGAwpFTAYUipgMKRUwGBIqYDBkFIBgyGlAgZDSgUMhpQKGAwpFTAYUipgMKRUwGBIqYDBHYQKyKY567eAmZtKyRwLhdNnCS5FSfMylj5LcClKmpex9FmCS1HSvIylzxJcipLmZSx9luBSlDQvY+mzBJeipHkZS58luBQlzctY+izBpShpXsbSZwkuRUnzMpY+S3ApSpqXsfRZgktR0ryMpc8SXIqS5mUsfZbgUpQ0L2PpswSXoqR5GUufJbgUJc3LWPoswaUoaV7G0mcJLkVJ8zKWPktwKUqal7H0WYJLUdK8jKXPElyKkuZlLH2W4FKUNC9j6bMEl6KkeRlLnyW4FCXNy1j6LMGlKGlextJnCS5FSfMylj5LcClKmpex9FmCS1HSvIylzxJcipLmZSx9luBSlDQvY+mzBJeipHkZS58luBQlzctY+izBpShpXsbSZwkuRUnzMpY+S3ApSpqXsfRZgktR0ryMpc8SXIqS5mUsfZbgUpQ0L2PpswSXoqR5FUlcAVOUTEck3wK2ADnhuWLjqDillFnl77777jdjkz1ffsBynLmD7zwZOeMU5yy3Bi0fymxwSimzFDYtjI6t/+9sLJalwvKLU0qZDU4pZTY4pZTId//4l5Lq76d8cUrGYR7ePZi8U3lfiecP7x4+PAhJ8uHhgzd+fv7h5SnqLf+DVVsSUspscEops8EppcwGp5QyG5xSymxwSimzwSmlzAanlDIbnFLKbHBKKbPBKaXMBqeUMhts+8/2lewX8SHFKaXMBqeUMhucUsrs16cXOVL8+BEQ8bDBKaXMBqeUMhucUspscEops8EppcwGp5QyG5xSymxwSimzwe+/fPp8d3enf/f3H2MXFaeUMhucUspscErG3cgOevr6/PyBjg/fSZ4Gp5QyG5xSymxwSimzwSmlzAanlDIbnFLKbHBKKbNpnp+eY/3teM0EOKWU2eCUUmaDU0qZDU4pZVZY9k2dPw8vW944pZTZ4JRSZoNTSpkNTillNjillNnglFJmg1NKmQ1OKWU2OKWU2eCUUmaDU0qZDU4pZTY4pZTZ4JRSZoNTSpkNTillNjillNlgFvOh4TgI1RxhfwIILhOWVWGzjE11HMnfMUWJmcqWD5jGcSRF/u5dmIoU5WUu9LvO89KPBkL/+FcWuXEcxQHTOA7w29a19R1jsVxwKQeQjDGOZMA0jiMZMI1j3bL/+Nc/ZByiZbNmypQDSMZCQZ6fP/9E9Ok50l+f7jxm9PPL0w8vlnx+/uIxo5+fvTy4lANIxhhHMmAax5EMmMZxJAOmcRzJgGkcRzJgGseRDJjGcSQDpnEcyYBpHEcyYBrHkQyYxnEkFfr+MHrUlOwYzkN1HMmAaRxHMmAaxwaen3/xxRrhNQTlIdmGcSQDpnEcyYBpHEcyYBrHkQyYxnEkA6ZxHMmAaRxHMmAax5F8+vqhnWZCn/NMg7jqOJIB0ziOZMA0KaZkSvHy9E9fsBHvJIirjiMZMM3D3UN6kJ53HMmAaRxHMmAax5EMmMZxJAOmcdyDX5987Y0en+0EsVzYNI4jGTCN40gGTOM4kgHTtO338vTJx2T0XubrySmuOo5kwDSOIxkwjeNIBlS2oeHgBEMyzziSAdM4jmTANI4jGTCN40gGTOM4kgHTOI5kwDSOIxkwjeNIBkzjOJIB0ziOZMA0jiMZMI3jSAZM4ziSASlKJniFofRbwIFUyqYhWAi4YJpQAXX2JhMUnagYx6MqCJhNqIDG2YXq77gS/J3Myn7zmIk2QAuxUdlUwIxVyg3Qd7//Q7uOoKyODcW5fW4yYPMzVqlIGsxYpSJpMGOVcvP0m60i1PeRChUwY5UKfnl+bhcfmzlY5rldLX/66eH5RauFXlqLz9UpZPczVqlIGsxYpSJpMGOViqTBjFUqkgYzVqlIGsxYpSJpMGOViqTBjFUqkgYzVqlIGsxYpSJpMGOVcuPIPN8fRo92BYd4mkyogBmrVCQNZqxSkVS4HEI6t2h5YzahAmasUpE0mLFKRdJgxioVSYMZq1QkDWasUpE0mLFKRdJgxirlxtHX53vfOEWfYn4OZhMqYMYqFUmDGatUMUTO9G0nIWcg2yzYkXvKelw9f5DXhu+eWwGbUAEzVqlIGsxYpSJpMGOVcuPIvR4KTPbF197o0Z60IeclVWkqYMYqFUmDGauUG0fuKfP28+DL88vyCkpngClgNqECZqxSkTSYsUpF0mDGeGgejASbUAEzVqlIGsxYpSJpMGOViqTBjFUqkgYzVqlIGsxYpSJpMGOViqTBjFUqkgYzVqlIGsxYpSJpMGOViqTBjFXKjSP30oQNtAsr4XwCCFlUwDQV8p8UdJwwOJU9AbR5isr39jVkypM1GBxKrc/nMKHLTKS/syXEvNDiOUtThQykOBRZgy0iXWsHFrFoTkYxHuk6SiHFocgaDA5F1mBwKLIGKxLrp8aeAFoiOBRZg4FkSvf08tGvO6BnnPwiDx5x+mSTP6P2aPBeX0h7f5DiUGQNBociazA4FFmDwaHIGgwORdZgcCiyBoNDkTUYHIqsweBQZA0GhyJrMDgUWYNrxDzfH0aPMiuzYKXJutoTAYNDkTUYDPWyPAH0TOabNRgciqzB4FBkDQaHImswOBRZg8GhyBoMDkXWYHAosgbXyNM+//vpi5xIVJWlaA8ORdZgcCiyBhcHJ3p/AkhJllKLZOrrk84RdJYg04WqDWswOBRZg8GhyBoMDkXW4Boxj02zjmW4z7buTo/PeEfD6yCsCpM1GByKrME1Yl6a2H66dN0xMrA+OZdKPAQMRdZgcCiyBoNDkTUYHCptDE2HZcEqgLAqTNZgcCiyBoNDkTUYHIqsweBQZA0GhyJrMDgUWYPBocgaDA5F1mBwKLIGg0ORNRgciqzBNWJeBclzkBhcyg1+B9DUDgqruOcRBMpzkBIRnUP5PEX4+9aNFzqOlpCM0FM3lUyb+vqdJkXsCWCEJeYtrIFnLJeSke6FFbauhenhoo1FO0XGC5NZMtK9lIx0LyUj5LHvE2tlf7BqiRRwqWA3Np17b1edoA92QdJsuyjpW1ZCeAToEdDHF5Qns2SkeykZ6V5KRrqXkpHupWSkeykZ6V5KRrqXkpHupWSkeykZ6V5KRroXtvj5qd/c+A5CoCmzPeogJSPdg8hu15uYHBDtUPlAteBSDlIy0r2UjHQvJSPdS8lI91Iy0r2UjHQvJSPdC+vm5QffNEzv7VSyWUDUZYOUjHQvJSPkuVNIpxnytzwBRM7SzATBZUTkMHvvs319TOSDF8m6CEAy0r2UjHQvJSPdC9tN2AwsUDY2hg56zNdIxU2Z7VEHKRnpXthuRGj76ccwsWdkXONnKNw4cBw9QTLSvZSMkLelLaQDee+vER7q6mG2uCmzPeogJSPdS8lI91Iy0r2UjHQvJSPdS8lI91Iy0r2UjHQvJSPdS8lI91Iy0r2w3YSzyxot5RZfAqkII/fI0b+s8Jgrs0Pod0xRnPUJoIW7CTuEROMjfd5PFar4R/L+8a/6rodFaaHVIDjU7mRATHXN+Xh32XKtXXGo3QGH2h1wqNUJKAqbFaMQ658B9PxqwyFPWaZ0v+K0B330y+Lz86NHguKOtcwYJUzdFYfaHXCo3QGH2h1wqN0Bh9odcKjdAYfaHXCo3QGH2h1wqN0Bh9qdDDhw5PvD6FF2qwVTWBVDSpkFh9odcCiR9R2sTHcTdgg1Bxxqd8ChdgccanfAoXYHHGp3wKF2JwPBfYLsRPmh/RJqDjjU6oTXfTlt98e0rWi1BsGlvsYcAU+w5LVfrzA7hJoDDrU74FC7k4HmhErpnoiwj91IzxGZkEUOBQ0bCFsOONTuZKA5wLX9/EtANjcfP0PhjcKWAw61O+BQq2OQHIhwzExzaFyYAcZLMiw41O6AQ+0OONTugEPtDjjU7oBD7Q441O6AQ+0OONTugEPtDjjU7mSgOYzXwlINlDM9AQy1iHBYY0hnSGLhNlPB11WrzBQzJBOq8mOENtXBAz0XzNEsxW8BY8boLXwCSK3MRaWb4lDaNbrwJ4CRjrEYx0KtBYmrNMWQ1+Udg920Ka5+BhApzyZgzL5ev5XaneHT8zOuSX2aJ/TRn/89t/eG5XV0vJBexFWaYshb3tSr8xBYA8qyF3yHGOHpRmaVIYUg7neGzPmU4vkzgFVnihmSCTfFkP9X85CwIstLLNCjxDWHks6QTLgphvS849E/mGRU5WgDGZRxyiH2nvrAlxj+tPEzQ47ykLApxd0UyznhYzd6tAtdfFZiUWYKdYac5qMovGH76YJ12RLfJufUMk0x5HV5x+AGMYY2tOEJ4KI46aYY8pY39afnIWFTMrl6BMMGSqd9BhAmPM5UZPfSFeEWsPYxuuT4sFqmRQqhtYNQMelyVcnfLOKJ5au6FrWENLAUpbvyKMRVdG28f8E4eqcWURCwlEch4KY8AxnybtjBxx5jIKLyCaCbKifHYLHO6dqXeu/0eiQXgOWjgUK/aEbr2weaLKr10hnLojwKATflGchb/iRPMbwUi4jvECOZALYdEgxh3CEk86XWTIodE/3+ZXcU+fNSVLrxCKcQdeOR/4fzFHP49YNvGSY5b/wjaCh0E00ChPIMZMi7cVSeO3qS9p2Uewi8gpSMSX27JOgERl5B2uSyylMW5VEIuCnPQE7zFHM4uy0W1sdupC9dY/YH7UVuUghCehGibiqymnX74YN2uvFkajhMzr0h2ZRMlvIMZMi7CaeUmz40v3ZkPuvNukkhCOlFiLrxyFveQSjPQE7zFHO4uKN4ovId6xPAwMVlHLlHPmPwLsL1GUCT/LoqGaoeUcznwPWo7/uMSbp9H4Mf0+F9WmSYIaoKZ+h7H67J+hlAi1bX1JAZoqrwhG6vfygVw9/Hd6qdc7NaVsWA+8GhIHYJfH7n573RrxrRaV77poeSZZRa5kv8mMKyIDBEVeEJveWnaCHPe6gwoOH+BFD2oEWDe7NE7kXI4IwGX5eAI+L4/pWK2+7of0neQ52f+931pzv9Kbr7D7LZLO3KgOEJ3co7TuM42B7d952EREq6ZMhRtbzy86+KYhaz95GO28IT+iPbF1IoxVUa2QY+diP9UDPNdNz0luwHnNA2/nJTLdtPPwOoG093zTo5RwttFCalHEa3j49QAQPpXpRhLLu2jk2zjgk4Zj/ghP6k/W94Qv9H8h7qDHFEeQaQsowU2BNAiIcKpXHkIGyhsIzCWz8DGIksTEsSDPnte6KKf58TMVH5o8zKvUGGWYrDg8DW3FKkppxiD8aSDGEOn4X5LA9hfvpqv/+cgwNaHqy6h1DgNMp6+dNz3c97kF2V5I7hLpHes3Ry2D4cqBcLfRRgHULKFofPwvyWd3uaDycUXPd8hxjh5gZGltXquXGYMsUgZZW3J4B694B4qahyUpj/d+TDqQpT7RG7v47CjV8/QydG6qyQmppXfJaHOCrlIn+yBDmhH+6JPBsMyRCLKx1wn8D4AYbLSFUHggSf5ZSv5cOpClMNdGaRkfrYjfAEcHn92hTBYBbm8CG7tR2+zbKEbAMu++albVVXYBbm8FmCIcyQ4pdtaHXh8BIHTREMZmEOn4X5Le/2NB9OVZgiEKrZ4G4ir9B+B7CCBNmWWzFTBAoFm8gEkCYr/QfrYNI15QASMZV+zxPWWRpEVP1Wi3GKcanJkBsgnwAqt7mlcXTv5R5WG17GRIWNmMGwosLueXc485u++1vb09HfsyRUwYpVyl786TWo/Ubtf1nsaXjb6t7uI+t8UQJxtQqGiDINJ2zEDIYVFfYtj5jBsKLCciyV7oL1M4B5fy4uE7YcDqRPuDPEFqu0PAGUowQFpJrjHFhV2P+X844dwdtu/B9ti9mZJBW6oWxDojoUOLCqsHs+nJCMFOsO8WdNhuy4sMwiHmLXdrKiZT3k5SDmKdmXcgJmVWG5IrCqsGd5x47cqxA5Kc5YiZftLWAdO/+e4aIaWBMCw4oKa5wADDM9AcQecZKRKD99/cG2qbd05F73w4oKu+fdaRkwxA6MdQLoFVzniFUDa0JgWFFh3/KIGQwrKuxZ3rEj9yoUFswgJcOFjOMJIEzY5Emx12xhiPH8GcAqIbs4LabUgzYBBIvoYzqNI1eI2nSj4ibcgtG1KXp3ORQAnAgUh7K/cjmFhJujvBtY+/MfpjHFnJ8BjGryoUPciStQO/vvNba8JATZxwOX74B8lmq/B6BP6zb7V3GTMcYqbt7yrhiruMmUo46FfY8Y+dMNvzenlGrOHtngIsGYA2xPAC3shaaOsIqb//fzKQTtTrptHie792oBal0xVnFzlCeTkMWUzjdjtoF944dGNnGQePW1ZZ/AaEQSOQOcBYbVErA/jjFWcUOyQi4nYwDij/lOngBCFpWWMAIEF3eHZnRJbfvh/RSmF+PWPptnME0o++MYY1NmYOMvfLfTE8D9wGToimzA1V9crkLCzVveFWMVNyQrJFNxRu5FKEwJvgUcfsUzkOlSZoObMltIFSaAoegNWXAKVP8Hu66MA0CUMUszpY/pogCsDRywLc/+qS8XBKuyd5etX5H2LeCmzBQqt1TFMgQsy08XkQCOOQPTPgtZ4xNZ3gJOVtW9yPqVp31Gyb7VsfyDOCfUtze09OehpSPcVGD1fwjbR4wsYsqMo4qX01y3z/jHxOZ5Ri6P7/F/brkwjKOvT+8fpGUETPV8KfwfZHcRCUBW2f7b7QfgUOWUmyGy7GYIWFYyY2Flez7/YCvhgcrvzsODDEr3QH8waz/aaHsmCqtlwUylZCSh45dn/ReqPliKgtaPl+2zi0IOyLJrK6MHUARMcb7i5TTX7fN7/ne7hbIg7ItuwnA5/yL7AAfbnHcbx6UdR+CUr5JaPjRLE0Cfi0kHvqfAocpRxupkKC15z7LOWeVhVfT4TxapC1WNhZuKDgK9f/fOPyQI9rbbBFBS1ZW5sr4/4FyxhtsF2HEFTJUrry/13+Ee5tkLKNteD5c1bFZG9YNuE3vM158A4odNuXbB7uvjQ/1nvbmM4FLpv9iFYttTMgqlvv2w/Wtmjg0pe0p9y/VFuKmLq7k4/tp+L+UAIgP78CAgc26OngDaprGKUn5xJT8UweBS5Nu/O4ZjvqlyM0SW3QyRZTdDZNnNEFl2M0SW3QyRZTdDZNnNEFl2M0SWXfYCllpkKT1h/A4gpDdgcZ9xORki40CE3gIWlpkKwk/+MTql36z262/6qy76+bbff4uZKvrYP9L3naLW898t+T0+rzd+BjDMb3///XdbjMm/fv9dlo808trGf7sGXF1razggbdECbRraM9G99uG/Jm1L/7uufQorMMRQzqUhrpTz04he6Qs1+rtNNCNjoic4rj3tF1/wwri/z+v00S5k7W7/0a9f6Pf9x0/5AcHHu39+tGgxxFHxk3/2RemL+l/ff4n55z/pXvAQnX++f5/foGRuy/98tnwpvOMp7ue7+48/2FpY2lRWcuHj3Re5/nLeB270LjJPXzyipOtkQfeVvoj79NEG+/jpQ34OSXlbCdwpfKmlXr7ExOLTR72RuWMUX+WxQqt39NGXb/SAxw1ItY8h0SxCNwDPYD7ffdLt6g3ljrUeEu/1hiLtvCujmmR7wCg2TLAtjNb9F+xAz3oHgYpbpziAPsSI/vnwQ2w+tPcyJVv8F9oHKLHKh/ta589fPvwQzb3CFHgp7W+fSVIoV0npky3bsjoyrW4PoUSsAiTHifCHeIb4i51vGiKGeXdfx6kOo5KAL23X/4DkD+4qfcFTn/+KX6q7+1Ijwt5sE9lfrNH9e5/F6soM5wqWbSr7KsOONL77/LM3FdJT0guCn7DtjPzQePDR/iyjpcIw7z/6mB//+V96SsABxRNA2/opzVFZDsn/0kPe9hyzyLDytqdEnp+eT7afUv8M4A8vslGfvtLa6qdvZCh5WfwlX4rJlIoui/oWssZK4Vp3t25Yz4m8HA8tSsDLhrCLQCsoP2BGffd6ayXavW64mZvFKexmcQq7WZzCbhansJvFKexmcQq7WZzCbhansJvFYQwOZZa5KZZFueTPwHTuEFJqlKUgYvQfK2TGgpmK5J5s/gP6XQO/YT5jVf/6h88J0YdPDEE2D/sOOLq1pkZ4Wrc38ME82UfoRLKVmX/9bkVW2LoOoyRdy2uorevfHBv9bl24yEKS8GM0Ij7NtX6jc5sDIttVCnyaljIQ4Y9Wqugikvz9YYiy3X2c/KQE2YvS/sVFJ/w3OD6N8TxDu5K7x0N7q8vol4/0WWKRPoQAXqz0qIE2n3j0527v23LlDtrmayLz8jMtEjbuCgvdyTQlCs3I6/m9S+nUn46YtDfE7zPM93xbJ5G2nnLHrBX6HM2mlfhZVsI7MHbT9tDnh+0JoNx9/NacSjbY8pM/FrZU+2rPzxKBHG0qmSFqYzsg5t8Y7hvGR90XYxsmliR31XfbwmTddaqSUuWJlb1aSfp8aYfKo2yaLF2OtR+eeB9Emdyt6X4J+oS74conpZpdvl1JZLNknyumuNOPk+en922z2JMjrhaWYXg26WcZRhbYstbHtJrkl353WviRV+fxv7yLl/X/QhbhJ0P0dQD+jdhCeq7oCLyjjgicHGfeQBbBo/0srfpo5fVpFgM9f+QfYJRzZPsWMK5dXl4N03mZT0dvFFWypPOV/9o/N8MkLxiE+gkkAWnCg32UTvqxpJdFXXS/LH6ypcWoVB1tWH1hravx8tR+BIIJ/6vEOnp+2s/NuLgX79DNy+EVV4dgZZByEleoOYkr1JzEFWpO4go1J3GFmpO4Qs1JXKHmJK5QcxJXCCLKtMeZWVgxL8qZnwAu4qozQWUIow7rP4H4TCXi30k45O8SkGmRFga3Kc3fq/Qf+B3A7wxrHYyxij6Cs/dK3Zc4urGu8L99hSGJRf1dy7Rq7VqVCSaSfzcHEczqEDC/5nkq0jRT+B/I8Y+LrVatK/5/wxhFdVMO5tLWIps652ZFqW5cZUhuSjd4FYsngP3680Gj23VPyV4z92eD1txovATqhQrnOC3aQVkvVZJFfOA5gpLdwdc73J28TtZHJ9HL18PlR4VZLWyXzEafrAIi6oe5S/3tG3+lvc1zEPz61OY5MRVzX+nx6xN1bjMxlX6vT1pWQuSHdSU+tZtb/GRPlKd5ardMGVck2lPge1+7003lj9aOngAOG0ZnRMuGic0ocrgDs8KVA7JeqiQHULvtC/0zS0V5TEkWz/sguuv/My3pU24sF/37tE3/hGTuFav19XACqJtNN6AYLVSd28JrlB5lFuMw6BcUmZh67q+Ygn7+5I/5TJYPaspJrsE2AZTQetr7hOJsAmgdyQF5eK74E8tSDsieHmcv+kRMil7aMXonx9g2Wi1L+drnRkKH54hWGzMWuPUAktMRKw0Rdb7yspDDWZZ+3m49gaRe35d1V+nx5fndflmURQ+XxXykebwCSrjWyXoc7lp5qRG77uTi/gO+uOILDBEFrXLlMgJmEJaZQVhmBmGZGYRlZhCWmUFYZgZhmRmEZWYQtnOoyIRxy8wmZY7RE8AVNJWyBCnQQBbl7wAa17wOYYv+/vQUBRBlf+tWVf7/XRVb4e+iShkCa4/p6LsSIhqA+LzIVOWNbRC2PP2VFQ9mgQF8ZE+f3yEg2vq1LyPrn4b8aZuy/ph0pGIQv9nUD3ETY1W2uhBlNx3mE0BVbaPgnfVqrQWZzTFBYf5nF0C5/rTnQvpf6tt9ukguTf1XbX/R1tbJ+MjQKH5ywgUmXFNeqPQ4vVaWxeZ/UEqKG7bdOJfPMTa69zLw8Wtxpc+4Zyo/fd0mWUW/oEafWnnEyFbVpnttnmO10qP7So9tmmHPLoT/y/2ddAaVsj4ONWqXaPwMjC3Uu7aRye5rt5p420yG3A4Bez70fHzXV/r8FBOY5/1fwclR0Rr78NcngHGruroDVWCAEV0OoL0j2VtWpspDSss+8ILDe+bP9TRK64Rvlr5sr1uC7Mm5T9Dt/umdmniN0rQ6PqFF+fPzD8d3eZ87S5HQOsnQQ709U3tpL1tA9kxbGk+/ZW30YGcBP0pd6Z82TmOV8BzrsXJ6nMnZYwea/PUJ4A8Ho/XOn6+cI36SZCNXGN3X/5qm90ZxPAvLLOl4B9jK63LOJoDbCWSbtE8Apw4+PA2v0+9slWxkMrc7XAEhudbZ4A63fjwBPL24y7ElNb7BoMw6Fr5xxeVmKjDhhi2BCTdsCUy4YUtgwg1bAhNu2BKYcMOWwIQbtgQm3LAlMOGGTZkUAGCK/AUu2yIUyyeAHi20KBZXlRkS4fisxZVPRuxBW8Z/t0+3uZPmu+yxftdZxIJoDSkrjCdp9jgxQrmRbNYYUWIV+fOfUsE/ATGVaWOMx+eWCNtDwVgTY32YCeZ/geJhey8bITcGgOLdY1dpDEDyM4D60NTnl+DlIR8PSSfdPasXLp+8LZd3faP34Hqvc8N2MdCAUbu7LHTnL0qLCSp7ndLjdKX8/LTP/2zZ2th6OF3+Z1+6lr4c3slAv/gDAZH38yQY9MXrXvo8x4fTfytRXr7rJLXf2Hkc+mRV8ucb0ToGT/e+Tv3pBkS5P0XRmZENTJjvjfp1bwnd2lT6IgKH0DK3kLbLLc/vzFLaNoy2xS34xg6MUQaXMfE6pbZhgz75Uyip9YjSI28L+8+wX59+OLlb/WzPXKKjr08nt1crlZL+4XoimYDJAvU5T/Xn6vb5IFvzP/VlhpTKoM/u8vbw3Pbx/lVt3Sa8se6eHoeeZJYhq9IPcyb7MvDzjXMFG0MkmODLreMM/5toPXbvxilnPJpT9tAh2dGnJLUQcOJ9dlWkj0vj2dXtlX+5MQFcTiDdq0LuKs2XxeFlsS3QhiVy6wTWw+fkLWAdmh07N85NqbIl9m3o5un4tQMoXp0xr8BNMZuwzGzCMrMJy8wmLDObsMxswjKzCcvMJmwGil2lA2EuRQXhlbEngOWPynRwU2YLh8MePQEUqclIRET9TnOlqq0Zkb89DGUd6AzH3DQO4jOAEfQG1hHFungQn8SLJ4ApwfnxwgrZBJDnpzLdtEXpX0Yljnem24/LNKjik0RXk61NKUNt/wgv59VeH3EkM6yXLfvTUxfULpZ6SvPzIJoa6LW4XQ1w+V++RLYRznFIqRIvO6bxCvuobfX6dHv5uhD50/X20CHFw7ijdwKD8OWUdZ6DmFCf53iX7is98u0L1+wbK/HPvLc9v8xvyBDZZZkeb5jChK219fTyPSD8QsXNWab/op3QMreweWGfGetC7IjrG8aGqNOgW+tuK2HaUCqwlx1T/XdTDyit+0C3w/nd6iHnyyI3SnFknkwA7UmxP52TYlPo2WuOqb4CcHPE1qktok8yJCAzQN7tn8fnWHLu6v65MQE833363dPGDKfnjp30J6etzYXR2jYV2d8f3ijOETkqpYGNxUdm6tY1RX+yRXfh+YvfmOEdbj+k+wmki5fO3T2mg8siVuH55Yez539KH/WEPJ6b4ii7eXGNrefbzQFE+OZq0Ec3rUUoghXJANmMFirXFAcqXg4HKl4OBypeDgcqXg4HKl4OBxwfpwOVqlj3ONa5A58AooGBTKTduVQVdo9sTO6g6u1In8rkRMUshf7xL9SJ0hmWx/QJoIT8LWAPBYv4Y7oKeAMJf+8RC7a2bmTGaV1HOBgSDxc9Ygo9/+YV+l6uT/XkL94BVtFvueA94WIIM30VJIFjwNiU+oFCLFVZpb0FLEK901NX4bhI6j1AZflih/g0S/iFJ4M9hR+GkQ5OHpsYyVQBixQphgh71Wsp52r9n2wOJMtHZX+zeyI8bRJpU6LPn+5/6XccqbMpVZ/nYCmyRdo8RzexTh3c38hmRrc3oo7L+r+1uu0JIGY+tkoK+2Lk9mNzmvYmDx7MXdhUNmxVfW6hB8U0M5aFb49GbYjLJykH+ijDtJXQP18bUxCvOibdq1iSBzaSQctuaDt9p5/xqX7r6P2N2ytu4ycTQNt6GJRyqdvnw2fsNNHtU3wT2UxTaocvGgjdai2EMR3PEqSX/lh9OFfsC0Mu1l16As/nF0I6U5PCa6PFc9HXnCNCNBwRDO/CNQVXldsXCqHTx2z7CSTdXpgAzuQX2+WDPRPdGJrN7Yd/Cr+QbgjbYqoChL/8G5yJ9NzsrZhTykm3PLOFTCUIW8hUgrCFTCUIW8hUgrCFTCUIW8hUgrBABStW1mBFECPsKo0BlUQt6tB+B9CcymWgKfsLYRV5coNV8VvA/qhKhZ4ABqe4a7/Oosxvu2LSVbO0UGb15wA17TNGi1gDDaIg+fvvf/suf0kGbFO8mluaLaMfL6TJqCp7Amhf9/UafKHFCz2oTS2UNSa/f//b9zGbFFGVP4GIAcOU45vSHugtb1XHZnWOL4Egjfe2Myt3BEw7QO0C9KFdez7yBU4uV46MbAogl1x3nX789PF+eVXM36FMSdeLXku/2IVSxQNOn+flizy3X4KVe8Cn+48f+08g6NpLZf/WiV3sn/tnmR9kSiHUJ4C6DKXluw42CZt/WkfIvly93sn3lbAPlkkv8280dsKlXRcbk32D9rjDS4zsk+BaytsAa7vcfw42FWh9AqixecNsbwFb4ua62w7UYuxv3T/MXnRC+LTjceknnAy3tqx+99Q3581SGe7JZwBtb0hvUmXbQPesd35xdURk0LeGgY8O6Lq1LXp9AvjFWh/O0OUY6GuJR4L9XMGcxFcP6wjRre41TuNxZm2vjlZLb+8e20G6eD9BmKX5DxeuKdJY9mF7QKanzst2oRA6nwBunwG0XevuawlfEvq6Xusej07gk6HpOG5vCNs9kDw/FYuS7r3Iady9VszNmgTvqhyOliqHo6XK4WipcjhaqhyOliqHo6XK4WhLmU1DTqnOk1Jj0HFFofgt4M6nsCmzwRCO5/uWpnT2gmzMXSyRGAzBYy0RPNAzhadu21vAKZiSxRNAC/lA6hOAquz9XNk2OY1SqwtcunakHO/3mgPlXdfPRttjRGHpyDwE9X1hrAV8ZZtsLs8q6UdkyhbWTfk7HhNKS3/CCK7NCkEmktWJAWU9/YXkWtNe5X1s14T3fM/+1C/C+F2Y5c3Sv1mwvwWTPzhSxpECL3ot6QMkaf9D/2KDT0v6xwbja7b9/TKf6ewfa9Rx0UUKqynh2hKf73ROI9fHbZ5jE61tnmN9ur8SbsYXNqLeq55vPy4T+rWeL9k0w6w1f25f97ApmMbdN7KWy1uLh5tKqR8A4xNAH0OfsOhbwDbECzsQq9GPnxQvOqHP3v7oWLP/X7c9M7mj39YDySrj84TrzG4qlU1+OAHEOuoOwRrZeljPV84HPfRtl14asYxZVu8bnwDKwS8LO39MdPNc0YCt4crrJwDn40y2kh5U10YrvZ58tbVoeAKobGo9Hedrik0e+UJxH6fdcqG4NQHcXoDbKeTua+lRz3RpPmxYGd1+Ap8PbfkA4MGG8IPYVLCI7ItXXHHRPCU4Jd3BM9tD5EPSHTyzPUQ+JN3BM9tD5EPSHTyzFBpKTDWHzJQMVY6YgKbS5P8CXuQIVqSblDWcX121CUl9Hi0iZpX155lbBPMmYZt0WUwEU7zff//77/qOqwe1tUR+/72eAGY/eFcY7wB7uB4uygwsgjEBs67Nr66V6C3gSGrX2iR8Vf6zy78hZlF9KihFFInfHeTP9QljVKUcBMYvViMUv5soLJKb1ZMRR9LDmdfzUC4IuGK1S+s9X49+bFenz/1RAM7n1vjRby3Lh80kaoMK8WHA8Zqi/goxaItGL+4a2fJtvfryZYUl2u7HfjWSMJfqf0KRezzPVPT+ZfTx7pf7+4cHXAVBfQKodzQLLxNAuVPIBnC/6PFOlqzXz5f+xOFoI+pee+qPC6T9l4f7Hx0H1RNACC6wOg1Ydpesisb4guxrO20qoXVTWfM+t5CIyDYz1uJ1w9iILq+7bETf4yTKXpMk++jjspXwG4/DsZb7QJI8ONyY1v+J+LONQor7T83YnXQpfdQ1/nJ392Nbj59+vLv7fHenTzSVrZ1Z6dZjV1ZHJwl6o789DBkxqN3JfSPvU6rPfRvEofThTqgt7EdZMRE7F4Zz5QXnyjucK1gx2mvm6Wr3KfJ8nNkX/scngPto9ZiX5pfPERmBtLDB5Ng04kVGx9c0pcOV/4iVt0uCbb822M9yFMiRgBOwn0Dag/y5W9R3QFA/vIR8h48btq+CncAfdEe2oeEQlaHJhmgfJDzYELrR9OAVyW2oUNfiwu79hXcBMyRTgUwRKBOOqVsux92EY+qWy3E34Zi65U5xguSb15xQaQ2UP6viUGaF25dAWII7DLs7waHMCvcfr8unUfSgzYA9kmtP7vKBmM/nvN5jwvW/gIW/+yohIcvkwzZVUf703Xfffy+TRAnVo7bsW2v/gbBo+2mXCEvXRtYiu1a2YonyAP25JU9axdcaBCyGTwoq10/TiNhbxRgElNlAEGf/Romreshn3DauvWdMWVyT/WwU4kvLHV/T5CU138r7L87i6t7uLHgHSKm99vuS/+QSDHHlNUHaxfZjgI/6enR53qHvHciKXFq+rrAEn969u7//xX6TXqa2eplV4h7sg2mS4S2Cq7RX01YTakvxj7pJIQ8fPe7r+atdTn06eXEltCv3nHBR7Tf9erqhl1awDgAzQL7b+C2LX9HH/efpwTaV3jdlUwXtm2oJxhPAacNIuG0YK3y5uu66DsqxRmBVXuP0GVu0Hyz6IEur3Q3CLc32wcvycSU8m1lmsvbLbhLspTHmrRTU7pYe09kb7RxfE+wkr3T6jA06rs6lYdgBue4k3e77lEpnkMvXJ7CTjNpBVvup71ScKzvJaMEsekj4caanpM/JtD2P1sJSe3W00qu7TuM5Ys+fjXQYGI8IeD8krXY9JJWWC8VGup+A2gDwjN9p3TdG7gbpKB7WWeyjfku7HwV4S1aGS9e6z7VPtg1rdLRrhw1h1DeErKBvO1MJdOr79PCwXEbW3YsjrG//FHYdlWuKo+Qn7n6ocjhKfuLuhyqHo+Qn7n6ocsArZGzGEYF0fALCgVDgUM0BQ+JLIBENTmHX0aLMBoJQkL4EIlJPAH12grA9S5OwP3ozVXO9mqRJypuLylmaCh68+YOlrYGWQwl//S6fvy0TOg9L1xFRlq5B2sKfAEL8CaDO4ixqjE7CFfm7tY3tYGwlNgBd5YzjyyKIq9qdQOu3gLMA4jnL2lvpmcZDDDvvhPSE7C9B3Sq9kwuYQ6X+JALtabrIt4t235NX5nELgDgy4zVOuP4tF/vPGG1760C/pqbBo+VzXC91tjCkhD7EdVZWcFipftf+fF+P/fJSamh50OXJ5TOAugxZtPtBNRahqyuxbpl4Ud1vAnFlxyRDl227HMQXby90T0kfhi2Um0omP7ypcpq53L9sIywbJmafvGFilK88gPj4gfUap9hTbVTS3thdJ8zBnfqXq+O9zOVI+EW3wvIE5LgU1KIeA8ng7U/PRlsVWyOvdJpXx0JXR2zUT3HElrPMosvK0TulhxOY1oDPlaRYNbO5ohqu0wnHGfztlNTq66N93TlSYwI/83/pOTkdZagibfk/ysrTGnU6nECP+2a5XCC6XRZt+y2XRbuw6HoE4QS2ca0b1gfbhhYvfYSGDYEWvNb4TlIwRM/3tnOPd++vtgusTbSGcG+7MlvI1OKmTMpsIVOLmzIps4VMLW7KpMiusCIrlwmn1BwIxxRjdmQCmHjgXTZVieBm2nuceFSlYXyNA2LfU7Bwf3QVtctTNw2pomdg/kavJpS9AYRmP8jWrPl7/F+OrEVUGDNIF50uQoT9LWOwRqxJvBttQY3yJ/R+06bto4Wxuqp4UfmPRGIcYdIp6Z8BzAIzy2cAPex5fcUlbGejUrs2sqNXETrZf+EbuL152a9JdRPapgV6SYgBQIK9BBQ99Kt1XC75euTBbflyjbHLTLuoycUHs6F2TZLCp/yXuk6eaa2NHu8+fXkXV2e/ki0fdUNMiDdTPD9bHlT58zwhMYcbcV2J9WpvRUJ9I8ZnAO0+kLs8iDeiTdd4stZuTERSNmwqLKbfv7Ck/TOAVttvKBba1x29jvNKX5k6fFR5CShnsH2T2M5fJ1f+EAe01nu4P+3ABl9KLaY0lAq1reYxXRs/HG1cykDLE8CcRvbwENJhYNDDMJbnrPoWtNT2+UQsam0eW2KewEh2Olfu7+sllq5qrCYk2M5Jr0maTkktnkfbo4i1cySnsH1z0cxWx8bSfnK6Tsd1TbF+hysv5ZCgfftFyXKkI+MuKAbRl6a/kKMLaJfFd1ikrIcCOKD5WqcV+9BA84YQ6iPGsesbL4y94Nr37sEoonm0TsN+oQqskE05DkpxMpRZNuU4KMXJUGbZlOOg1IDNhBNqkVIEdyciBoPZpJjDXwKxONyUlXdltrA7GaiHeir+/z0kgYBzfP/1a4ZUtEzDf4frwYjqYzoJeLF/qwOMSZXnIhrK5be/++wvC+MJoDC9BZzv1yLTpoYZtk/8udj7uJicWkDmsRLBhBcBeyanzVTVZ/m8bXGZcpJPPgMoS2NCKFLKdtoF9XeNiu62qwMR5jvtYut3VLvqtD7lomJLbSMUI5PC/lQm7hp9RBaSXtt1BxeqaflCLz1BFzUhXBVfnvo/cAd5ut8Fix4/SVdor9QfdFlIk/xWTTxB6PefmDagq8ONuK9E2xu1vm3C7A+Iakubr6Sdcql1QFvVn4tIGQYWdLSpjPrdwH4hbdkwsp9Ruj4aldpxB25dPODbKrVKZmC9BBSPn5bbqoalB/ecvBDUFvdJt5lvhXa/su57qUa8l1bqc9ZhAoi4DF2VYZwdtkL9fLDl2UC21VmHgV6VlhFbYnrK1CdPOWFzH+QxoXbk8RPAo3Pls54rtnSbCGD1as/ZDME6KDo+ztYngGejvXqO+NAwHGctHA5JDHS4ppyvPAiN26jiMDW6/QTw5LIo1Hr2H730VNDpCbwPzUZ8cG4qreem7s3Yr7p0VV7KdDCKaLQypKzjNIw5FBYMWZTZLVrKLBiyKLNbtJRZMITVjM2mYb85iVd/UmZSOBisCk8A3RFFLkuUhynloBDcBO2tT5/6qGD6AvG3TYUp5m+USjHP5/wjfSr7E0AXa+BxPJHTIIzKd/r7K1FQSieAXpFdq8W3Pzy3dI1w+9Vn+4AhoCl8sI+/KfyPf/j3Sows5Bn9qRkSVhUDprWvB6ueC8PCQZygcqLbue7n4kr6BbzDSxwucO2q+qgfdnZqZ/pHWY4ttDiBl4CsT6H2BOnOR7lc6Sx0fflW7vT08KU9zSzygn4TbfToV0LtsD/okpXBUto8R0P65z7oFx5O/zbn2UosmyDe3Vru5fV0Q0bkWxlsQa9SsudlNFpdNR6Z0Pmm0uI+AcQytg2DTbNNAF+xA5VyddwY8BJQ3Xdax+9Q7h4on67JyNabHU1N2u3ZDrrD+2IrjZ2zTwCNdE6s54Q5mAsKi3gl6Gh19hF7mdI+4nUnIdanVBLASre9bRGj7eTLTXT7XKkjMZTZmAPq39OH+7NTcn0CmItfRqvRK+cIv7NLY7IBtfa3Dsnjlf/VVj630nDxcpr2zTSx3S+LoNYzngDWcXN6AvvgjoZ27dzUL7zrFgwu5a/7dCmno5BSulRNKP0eTACGrAwhL0GmTCEExAwhL0GmTCEExAyZvJTOkCUB2TMpkzIb3AKl9v8FXFXgMmEzBk7JeDP+GTebqAjnFxLoM4DC3kX/RBzmYzIljQmgqfr+RD0BFBCzNOX4qi4EU8NQv9ncz9JR4EpMdNA/A1gPF0XwNBJMDxf5iZ+4+QY3XOEosGhYds3Uu7VglQQ9tH8GsKrCpokQRM43Ozed1k8XO+HpwXze6r1Jsu3acUj6cAwL5mHY9b/d8PKy3F5i5p26LQyvVNvF85Dq3VkZx8dPB2uk5EXLzbHTZ3+qsgwzF7J9BtBW3n0Q7h7eyys2Yv8ScDxHWH6M8TN6jsuyLhx1INpk+iVRnuC3Oung0qbqDzCwTn3D5PL7hrHSy+uuq2Prs1ovMcLWto77/EiPtOUprO6D2APLOOhzUD1h+61F5H6ZneylQgcTQDSzFcAugl6eUqJSaZ/urcMQki5FhmEsvzVnsX6Mx4fitgGjz6XXfIKlqRvnihTZ6ilDHGP2p0fvleNsGq203zfvcI7oOmzniBMG57Kv6SH56X5z5YNar3qA6aBM9gmgBN01Orks6oD3nm2V9GC6dALvHThd3BB+ZtoioTAA6UGHd+GKa+XeHCLK9B7mSMuZR5FELVqQEj3kkqhFC1Kih1wStWh3u7dIs1lHqcBbhjllc0PWzwAydm7KbKCAaciGs3wJJLL+mTgR4d9zsfk8TK0GdEXbz8BY0Iq3x3Qp2wf1fHP9hnd9K6ccSiTa0/M6EcwtTcVkFBLzVlH5ET8RmTBae7h/t3Wrt45dOWAsnL/ZDAkuY2Im/xOIsn8G0IsaKMSsJ17QPI3yJ0lz0j/b1i62h6Tvk/lloo1FY15ipJ3aNaM9dsSlVuLtgoRb3rUJYL5P97L+osZKvvzzC7v/cNz6oMtCSn2e4+Q+qN1AX7ER95uFddCnDfT5Jt/O7tkWaGv2sU2h/QeRUfb8cPxwwwi165Ds5x/WJ4C6nzXMTw58w7xi3ekJYBzU6ysIOYB8HfohpDMmSbgH4rvzshZ8f24zL9vHrVS/iBkLXSdpFt1mKOjYSB+R+Poke6WRT+WVttVZhxGFyzD8qFx2ki6p//q4P0+SXg5mrMPJF4s8O1d+9c0cqycMwc6TLm6fkkbTaIWG0S7r6qN8eeLfNJFzJDeYDSZYdsmrDskbFwqtwIKG7efUljc9ATy7LAodzd8ubVjtdxuab5rrG0J3pe9VU/ma5vnlwmXEflwzhTpZZFEqiYLTVCJsuSsGl1Jj0HFFZwwupcag44pCmeWAG0fpp0lhn/GqUhrMCvL7t4BTYLvrir2AwQTLaV8CqQ+r5Q9Bq+j3ZNGG3zC2B3K6pvVAT5SUWrieAJrCm6fOPEvLx3Rfv+sfRwwpzieA/UcD6RGidO1tTOX7zvagMzIyi6P3dbVGKmwdLADuMFB8O0S7bIiAQ/8SCNq1t4ALhQ1kUM83O+9c+i0jyS9xc9Ify7WL7SH9opcHXBJC4ZIh2kuM8ro+P1obrnSvvFjfuBjRRfH5/fi7W05+me7DtNuZtm0TQMSWJzs5dTO6thFtJcabhfTlEaN4PGKbWvf08pEg2gjSJ03K6nb18nRpU9m6TUOa91/70Qwf5cUDaLnFmAVPq660DkE7cA+UW8/Woo2D54brrG4ZMn/tcy8VGmYoOhgbumrZPXY+4qToTynjfJBlLKsjkesjluK+k3D6tamL3cat+TjgswnMhXMF65u7z4zGrh9nfaJl54INdxmtxq6fI1JtJ20dTxq7fjraCK5cKITa9msvPtryooG7RoeXRVv+dlnEqXJlw6L9PDTJXd4QvntdqReXnGtX3GgMJth5UZ1TQpl2p3LppUnhiCjTnHDkXpoUjogyzQlHkS9bDgc6NrVgt4Y3ZTaNw0IUiCeAaRzkFHNPhAKzNOgoZkY2U6FvAUdEWZ+SWYs+XbSIJOItYGMvlA3Q3lWVeZb1YTlt4Cn/oJ5wPXO0sPH332knhlWhvUj7xF696SxcYxGJsEi8Iyv8D/4ys03ppMKfCXp0UQns84PeggDZgMtbwJ6okjQOAuMjR/qX1O+MQR9xhThMKrVrxyHZFYwHAmu3AC8xes0EEK9ULy9f16S9gAY9fnpoXdhynL4cX9l9+ts6tJuSkQeM5ieAHnN6xUq00rqNtH1U3wLGnNt2tRiE+sblx0C59YWGTfXrwaaa7l/tCeDhhtFhXl53IV0TX6NQIl5ihIeftvrDbKwdazp+KYxN1cZBj1H6B6Gsn1YaUyHtZy8VOphP2drorVpa4nxULWeEVxrRs9x9dbZhxNpMw+g7Ced+m1Ll5yyGKZX1Oq41UkI3zxXdc7KSspax32z1rx9ny2hjwcPmba31HEFtO1DytDTCkDCi/u/djonOlpsrrwOYt5/SfgJJvbtGuaj5HYfWcxy647Xu3bRhj4f2ig1h+7N2q2jr4doVVzdPHRW5M1gykYbsmFh9wimupshf2T4Du1qdgKtR5dZ8ClPAUXAKJ+uHoN1NKwoA2G25M0Maou/a6kwFUSEPWAJPAFFd8fY7gCk20zPGE0AR5fgesXCfMdosTYV/qkX59++1K56YbZ8BhMq3gFXwBNASORZV9PWVf31Hk7P4nyP+wC5qggmq87svppRZjgWmt4D1o5WIWyprKmQqbqBywtFbRkJ+MnbCOfwyf0LQL6ztZnNIeo2QxdqyTTnQS4WXGNm1RAc2TAAl3C4cmP28avnrdfrHe/29++VyxNvlw/KPK4uw9DbMvIW2W1X8DMw4K5Rl6eKur8RwrbY+2iLjMZhsXVltWW/3k7xOiS/GfFfyUJJuqmXpKJwfuGwbZh+lb4Or646HDHnkpFke66FTpdaxvpZZSvsUoJfbrMl3Trs92+21zcXshZDWCW2lGt9mKF5sA7KXQHZS6p9mhtWxBuvqTBGnfcTrZwClR5G2O/xrxKIOZqzDyWctgk7Pldh7bsDaykuSPt/rETQdZ8tog25NAOOgfumTETlHfPR8YGEXXD0kic5W3pezj0oSJuMTS3eNzi6LQq1n/elWXSV+v1tpvNYJabfDBrNBX94QtukgonBQ27b0kqSjywjaiqSKgLmFyGYiogE9AZ3ulk/sJh2XcDk+BCjkjku4pcwubqnumdrBggmyKuwCU8xS3wLmoCm1YJZSKoVMlnJT9b6rzVSiDl+T8Ix/Tk5S9RawiPeAzwBGtNanngBKfHoCCEEoZnpe/nt83cKmehEXHxJdm6rvl8hG2Z4AIqH9R+If9AMz/4hjmZ4Q6oPHI4rloE8HqRj7jNI6/Nf38YLAVLOrweMGPcXlD9KuQU45dWnna5Dn+mvSh789qCz0N/w2rC07lFm7Snhbo7yotov18RPAbfkHhPtVX4/HL36t3S9HummSPnz5NFzccQdqF2QZPDZmG1POM9w3WiYf60r8zVmlyFZin6cYtYHoc6Nchdjd5niUOqH/kaWDwgpc3VTobn+Asey/3KvThnnFAdR/CiZs/2qvL19G1sbq8yP3jJZ9sNxbfUsJtZ1v45hvw0LtLMKQD+dTRLYs7CFZQa8ExXRgWR079udhSGf7iNedhKOhTakOnwAG7QMA1ZY6P1fonW6I7sx+nH0+OiV1GftobcnLaDV2cI60I42erWJgIqbE3w/JiXTD1rpLO1n54aVyTlWPtt98Au0TQKXtsmgDmHruG9ZP4OW/U1uh0tHQrpybtiHwGiZOSGFprLqP4nD34gpFzQUkql3TnCVSXCr9ZockQUokYGm5Fg+bCeYyYXtgSYUyW2h1zIopaG7zikOZZfbPADKzCVsMcRuuRRilX2/qmvJ3RCVV0xd7Aujxm28B09uu9fBOhN6ntQ/qFWNqWD/MopL/c63mhSoWzGiEvWuN0xNAlYhahhaQwL/WqyKOh3V9JeB/qpWsyrsiXB5ZVfzPhvUJoIUjq1901pQRJt2WwJlqZx3R9FovLzDtTuMU16R2SarX5QPV0FT57E/Y2xphDiW03dyOrnQHzwU20qV5FahuDO366zG6tBt9WP+bKNb/b+6BYqu2e5J92VV7c9/IntHVIq5vxF5an3hri6ywED5kxvRy8KZ+bZHXbKoLnwHMf0i7jVI2wfV1113YDyEobwvSHrBhPQCyaVA/1vAMKKUdSLwF22NjW5OxVBe6lwotMxQnXagMXlv5GenevjogD4BsdYZhWHfjMPpO0gUOnwEE7VMq63Y7+bCwnd5/3M4V7LrOIsvT2/NTchltLH3YvMM5otXDOaLhGpt9SEJCrzgdt60wrLyQFrXt59Ny0H4CSb27RseXRaPW8zuplXVxD+T/llD0eK3bh4b66xsiN2AA6WAfhRfvo9B/sFht0U9zoucFl7O4gcKmcQgZomENpumc0vKQsAabE5bNhDhgqhvHxR1C0t2iLu65H58BhFAiVIKwGRDjlpPNEa5neso5GWm/AxjfffDnhRD/Uq4onnT5P43TRHwJxNh+qyUbUL3PGOljefmlWZXtkaMl+HldPgE0xZNRHYuELa6ZTCTAF5mtyqIQ/C9ij9vR7jjkmEvZW8DamRp9AmhRpPUfDGvSjP30jieEcbL5SQ5qp7pTvRT0AJNcfdCB+0YxKzwgW2woiMwAva1RdnDhSofhtWvM6fKfji5n+w1vpqf2HVYrazeluM72bTk+AaRZg7a5vhLL/EC2gXXRF+lPN6Jz3eDCGZQQ//ffJDoiLm4qULuc+wRw3DA96BvmFesuZIeMrU8pb+sUa9Ff0iDajrV8wO3UftvMJzgirR9/TLaVgrZSW+i2zXyAQjJ4u0/mThKvf07RBq4NltWx9XnNMPpOwnSz7Q/7VJ1Wzjt56daXZvW8RkH9XImgrmmc+bojv7ZHTDeOs2W0RrLgoXQ7R4wOTksjvySKmOc1RjcPyZ3aFx9yQW376RNpbG+R6QSar6tXL4uvuNaJ7EMT0vjVDWG1vgGxb+3KfnUUQtZY/9A4xZ3EYEjhBCHus4qUOxzdgw6bNZwog4wJnMKwwSmcClVOi6VUaKkQRR4kWCUAPgNYFWELQxIGhlJLLhQ4hKZ0Ijb10rzOUZLtiZhIny7SW8AeUBXv9coUyGMWjk/BqVoeGVq8/cMNelyIgCc9tnZtxRbPt6OhohPL2hpV0gDNvdY3rCMTiGCG/C99h6b6e8oRddEhQHwQns57DcgvActd1AgFmh7eIM77zXj1mkiuCLFsN7hKeFOj11zp/EX0xeXL3aZd5tBa175PSyzs9P7hw/39J/p0ldcoYQrX22KjtJsazTPcN5L11K0e9NJWoj0d2Kj9otYjVrjdbjE27962MqBQLPNlGaMRXaD7HaHG048SjWiP0x7YN8zLumFiEjzt1Jl0rqR/yhBRy1Oknz5jBP12b1vk6Fhzauvs/31aVrk9TpNjQSfSW6luhpetFDRNZnxH6CmBfWRa3+K+uDrWwToMCx4Mo+8k3XJXnwAGjV9xFsK6vH/37uxc0RX7iqPRlO44KXrNcXZttFL4Mp0jL/s5goHHAeVXRou1Q9KP6JHQxY2V96Kj7Tc9ARRy1+jksqidt+HiCeDBhj241h3u2ovXJT1uReeWFLH4PIrlELeYNfJjI1RzIhIeeAfgbgwUSkN2UQHTCAinqea0MEuLFqdQYFZmGoJkpBLFpYpLkRdPAM2zCJTZQqYyVGpKBARqUzqaqeQERTjfGPYJICQfny2fAUSUP1YnYg/VnvCwLn43Br1gtoc5IYU06M8KERSFmOTaj+z9rsEnzNmsH4uq8pi3yrGbMptpUYggoV16Rr3fv//+++/i6yJl4g8xSLIPEVKPNI1zdm2KJrB6buIBgJ15Qf3yqJSPMJYLBAgXcKF2TamnKk+PP32+u7u///IB/51cSG8CONOhdAzC3tRIr3TWb7vh6ZXOottLXYmuy5eQSi3/XSy/X81y/fvs1kJP9/Rj9/RpIbrZ+CMI94LuPm3/62h8C3idfBxvxEfaiDbitg1++lUST/+1/Mwqf75JiaaATsvd0Mgu0L5Rpgu/pNrNNu8fN+9fQuOGwdKuH0BGcQD5QSTsTZPuP7z/0FagXkK4a+THGkSo3xw/P/2nht+3TfurHzRrqUWXUitUOphPJclJgQ83gtctN62OT3/WYdg4DobRdpLsUT31WnvvU7qYplRCbfLxowz65UmPjH6u1K7azxVZOV9HUzppaOuFr6vo0sbjrI1W/5OOjWrcvP0cedT/jvbxxjmio9M5oPXaFnV4SErl1QuFdtouougUZ1afZmG6Oh6qw2XRaLssLidwfB1pvNYp9V0rAezaCxvib3ocIKhfZg+WDtTsu9dqx92LR8OmzDpmVckOybRUuRsacFOrY3DKnUUKl9MiHXLFolI6QxyVCgiGLIlm/iMwXGNIC4HZOHZYKA3w8hlATEZE5f8CVpEJoDeon9MTYx1I2CddCHqlSP2ui/Hf/y6LQi+9gXWDt5FdxVvO/mUPU8rWWOPc9b/+ga6Ry4mksj2NxCKF26zRVPtSbxuUZCz6nX9fREij2RdU/CHmcRdMf03155+qKmPJaO3sJ52fu0LLLUaIXtD2O43SI256qtpF5c7vAO/b7d4uYHST8zEi5DVGOTG6+l6HULucHC9/WcV8hLCsuK3TS/sKXS6eh+rB4VPfC+VbQO4b+XrqokyubkQNuntC/tDBu9Z7mxknC7fX5ka56bXg+qZaw3r/0nAb+ki5YS7tQB01HUGl1kdmI/mddj7WlHTIffUe7x/efewziXo4spV+mEu1222Ggq2Gsfuf3TBFdBrilWcUs+xXDGPZSbbgPqWySqVtwKB2Sv70+OmXO9uF/S1rPy36v93QoKygHoi6kiJY2eWEzvOsr1YMoY328Amg0aVzREl3hR9WgtwI7YekVE6n43yh4OVncHmIq9vPp4w3X0HloXrhsohDvW3C4w0ra6WbYNi1PyNz6dxU8gPY/rBFJXZxFP4OcCr0FFLK7IrLUzGwhVnNUaiCDprtKVaBC4I7TAwm6M65AjMGawRiXoQjWE4whDL8BHCHi5RtSU6YKkzP9Mz4oypJIIS4vgWMBvSjMe0zgMW1FdoXiUXpH1L0yDAa1DuwqmwY7W1hY4ua8kgY1chhAmhBTBhRb2IxCAraE8LvKq78/Xf6f+ng4Gsj//Cnm6nUmrIIs4h/Cxgq59WwtWU0nU8A9c/OwiS/BuwP+fxKpMl9nkP/y7Z/EeKnLx+enh76OR4PTvQKa1dZY1NypfAio7MrnfTRrnQxAewX1p/vZfnv+ivdn3Fd7/dG/Vza/mDAbyG99BPG/45rcZ1dXlJPhA8LCrlvpOsZcaP+9qiuxA8Pve9H2WBW2q7JI7WnG7qVgXSFgfpcFhSb06ivP14KfFzndBYVajt7nptMZBNAHdCwA7cDSGuVcNxA/CBaPjQ3UTy7mD9vGvS0Hgsr5fvC4ycmGtkTMtQezKc6yXrInrL7pleekHaOVutvfaxUw5h20jqlOh/wNKvS+OVzxXaY7zTsueVLwF9sBNMpqfG2/BvT1dvnSL78MJLBkJmvKf2QfLTK/q3aWPkPw8ofbT9tMJ5A7hodXxZteW0QeGNk3bBCR9c6oaNdO22IH5ZzU79lZKOwfeo7V59qCw2jGHevkG56a7pyqQYMQsht0bAL2qKlggkGQyg1qWCWlmIh2zzwosCh8q9S5CxSKqC5cAzbZwDJF+M2A+Q4NpC4cmYX4z8Dg7lIvR0ZUyyL0xNAdb22PgMIFxLtJe6tQ6lFKh/TqVjpk0+/TKn5/fccWCh7WGjFbSIaBhvGn+OhAeqtiTJ/zM84eoOpX5yBip7hyF9+NNFU4AyxLB9qzHfWwf2Tjfl4UO4yOOFW2q4BdtO0M1toOefjZAZtyZUedKF6c9O/GL65yl5kZFc6XejVl7rb9XOid7gerR/Ou7u722+g1unyzVK59d/f/9LmP3oD0mUPb44vdPYEkOjCSnhlvyZPFJ+uU/JL8Ur9xbkQhinLsMUsy/gsm8ohUbQYH2Dc3jD54agLBxDq5GjhmwTkyhNAm8FOxxrW18fxsj8W7ZQ/6XZ79fK2P89Qsh+BvjZyD8STE688IVkdH/XNYeSC9p00fwZQGqwD9mX1LxeDtKN1wHfruYKD3Sa38mcrK2Jdrh8LPT7OlivU8WhtrJfOERuBkIzMDysPCN0+JHUF9guFrnx7tUxn+sH2G/fNcLnQ4V64LOKN9GHDztc60OHQbm8I+yyNHbi2Y+VP8YsN9/Lu9dZxTqe4qkxYgmXFEEzjiL2w5QZnKjOQRZXTQOWKWRoMLtXSpQzAca+YDUvnUns+vwQSqRPYIhlImSIqPqWzqQjejjTJb+Wq8i+BaHWEVEWXywO9CMebqsEqeFO2JXzzeQWMO+4nyJ6ra1PGeJyXc0tlDUQLsbxOavGcMZU/DAUvY1Bl5dUgYHMhqvpbwEsh4j2pn3GJMr3a6UkatF4D6k0Woe2CKjc4aezth7Oa6V6uDyjUEz0uFYqMvcooL5dtgfOVrh5Z3V4+Lu3ra8+JbKgv89dkifIGP1w6ZW7pVsneJtNK9418PbEJsXFurYTuVFTevCb/Gn0a+QYPz+26R3lGL+TRU4q92saj9w2Nz/MY3jDzR6Ymyv2vJOsCyYPIq46pbsIeMKJbc2yW/sRiJRxwUqnFV0pR2VYOYScsVCjXRVfMK4+pPot1cxg++5cFbTtJqE2pbr4FPB13ehm4ea740oRkCui7ztZWhuUlp+THWR9tbrt5tFfOESHvRcZiO0FgnCc3D0kb/rWV96XM229NxNZy1+gbLovjdWkhWwOrPti1mrq1IXRP6sbAAzzdt3glY/1eGgU2uTWMc1vEj5Jyya4mLN4wc9dgcfndpANJl1ULdK9Zg80x1SLBKe60dIeJwaFYKLPAlIwWdgdvAStyJsipQLsUj1CmdD4RUamZSsZE1VvA7UsZ1o0IJl0etymeVfefwoPCvwTmL4HELK19ZcRVcCj7dyJanNVltGvh+CyhReuVAkybvsr8EPEs4EeWYtxaQKR+C6dUNd34t+xAxObV+occfQZQAH8G0K90SX4VWN/MrPmVZLfbeevh/Dy3h2V2TdCl4yannxMBPvhc1iveApbOT2d2dWe7/VRKrnsyIh3X+XWvPh853YEfeZ2uvQUsK3G+EfnxxLS6/PQqP9/UF1Gk8WUF+w69tqm8dnoCOP+PvrZh+FNYNw8gXxfZM3afEVbBYeVlh/Rr3FMPjjWis/nUMkW+Xepbf5uhIO5ZGZQebvLKTFfsyurkryoaXR3GupM0ujxTk5DVbgN2Go6Jjzb4q+cK3eTjEvSK42x7AogVW0aL4NVzREnXAOwBoyuHpK3QtZXXYU3bz5LTCTRPAPfLonbcjgH/Ks1rTuCTod08N22z2XEbJyW2pYxL5DWj8IbBKekWQ1hV1J0WMCHH1RoxW+5xgDPhkN2dnSGOglOaA1lhcSizXEBBA2HJGPsTwFIOErPnpjNUQEg5/TOA/i1g4fYBvvVbwM4R9MdxHkT/JvZGrYVD4ReeeRqZ/zqEH0WG+tc/vvPJoqn4MUGvpowwHl7mE0C18Rm/MDXJ1Hy9sQ0jEl/5qKIw9NvUAQZLLj0B9GeNmR6+BZxpvtLF9XL5yr6QFOEkNlqmh/ahfCWYs//4TfdNXbItP5TdwL3OKCdGF97r0Amgj+L9yXcx+L49D7N9ukeue7ianV3Y7eKIZQ/fp31sbwzl8xr3jZbJh3V1aSVQud/dvvDtsX0GsMg3lpt+bbZPL6UIzavf/ounbgWtHx9gTF8D+bVtGH5OeWvds9Ae1uDgEdlnTNPdSoeEDqZjDRIVx+8C1wsip6ulbUt6bKM4L5fzYVwdey0Qw744jGUn6VaUre6u0eETwFzS8I0n/MDj7XNFSUqxlsHWdm76t+WU1MbTaCW8b17r99Y58phrFWRjUmDxlyunox59/3lp5Y2G7WdL208gCbprlJfF9nnr88viPKz1WufF89BANzeE7UvddvJnm9C3o9I8ivatdj+/s31wmYYClmpORDpUkb/glHIcQ4cbSXeYCRaXMgBNMbX2564jgruzAIcpGQub0TKOKk1WRb8FLNKDHoIOZpOSqjyzhfpH7WymopLfmFC2t4AtUbM0EYlY8fYZQIsK+0THFBiTLpvUecQaaLHP3Sj1j3/9/p1NpMK3H3yxnmV8FvaMCuau7e3oeBppGRU0cpX/npgkPibopiB+maaqi9mEFdOeUeocr7K+cU0h6W3xqAFnp536QW3KtU1RlttMe39YqV3DiH7Nu5AszD/BZUqvGHr9vPoE0MbarnT+yhEr0TJEtXwrHK5HP75vcyH9rwXKR9cuoR/rlbOu0nqn+VFurw6V7MN1umz3jXI9basEHa5E/EBG0Pt1YvCl3R7p801CbREUb33Uh8WC1ifCQrKp+DiIldgeYKCv7dHBnUxdHCrVMxilCztQOrZDp1h31PI18m3T+E8lauPbTwBl0+7zVqX6/kdtwoM7Y3xXUklr23GEsPch2k4Dc+y+uY3xeHWSbo9YaX/K9LrfAdRBtnoj/XSHjv/2uWLnvv9UHMQT83HWT0mj14xW6PY5YhQb34gfs986JG3n2Ufdbq58LGPafkr7BFDIXaPjy6LRdFl8frq0Yc+H5tkbGwJ70vasn5ZyVFhM6PLutY1vzf34ALOUH9xBWAoRq0oBT9hUuO5UQFQAwEoFzFiaUJgicZAAY3AHKZRwp+EEGeKAKQIm9CWQDYW7ea4C+18xA5/S+XwEj9FU5RRFOJ8A1nRROTqqmZtwPHWDijAkniXmLE2VzdKkVOaL62M9e+JHIf5Q33dtMieMDyouTyO92JSIzu+Q0n/3kUniHEOKsH8NGgJOcWdT9KMz9GAVufwwonEk3cjplmeoInP8fHTKF4BILxeIuAQWfRjvhp/aXcjubzHzU23IS43ySveqzwAqXVm+UPuCntCvtp58r5Dpm92W5Wo73+Bzy/gGWJ5/yGDbTfzwSyBt84FOVgK7Iahf3R/los87KD/fRC3a0szhjckfK4vadfV/tQcGbVNZ3Xz/Eto3TPsoQX7tBHRrB9YKyM5J0SPJS43unvuPj/10344ADxrlsbbQx30gdzWNYTOWxmGZ4z2aoewk6yPHnVca3VgdX8b2/ewasVSgaNpJ7aS++Z9AhLZJlTVSOj9XvMieFdlKYt8hOB5n7dUDhttGKxNAb76MNhYlXVw4R4ykiZ7wtvEb/e3GIRl0uvIYEPSw/ZTaQE8ngNsTQOt3uixKYtuwOqD2epVO1oOhgW6cm9h6fl6qsVFhlQ927zQK6yVUCjjlwFncgMWQ2btVmr6bKgmb0R5qSsX/0jdx1Vyym0cQ7splwjaHIBifAfSQI64JS8keAaaAmZSv3//+++9/lz9ofEZPJUNC+QDLqpM0oFELemkG3fzGs8Pf/46evqcl2m/xRflv9Sm9f/zdx/KblS7DU0axN7CuhWUsWoj+s9iUcqZ+/z0+UAgh2IasPftPQO/Sou6E+10uSKz1ADGFqJNNcy1jJxpOOCU/S5V+ubu7+zFFzkrJVZpzd3d55aCap4/91d7n+ml8rbL5HhjIbt6Skf6C7+yFvXb4gRZ2l/18FCdHqbe4WLZ0/7Qu/8dcvi7eofbhebkWffKrJfpFt3Z9soE9PX/40ucwP93dx1QgexT7kFU/3ut2e3rJ3u7u8kKqvq8m1pNGJcDwthK0EZWiTjZQ3tGxed5jkUb1eIQWoWQOIrLBrBbDjEeM1b9S31S43PsuMNIFS/m992LKjwx0VBvmV90wEqpS3TCxLLNn6x6Fdq+JA8nh9gri6T5uL4+f+EDVxccukAHoVpLoIkof7nm339nQD+hC6SddWKy1BrAUX5ZSnRl6E/S+jLA6cW/+9dN72wltsEbvbw7ji+4wrPln3Una+r2OyIb1+e4uXte8yIB9vEp9UU90SMgO+qUOzqf3J+eKENZR6nSnvfh/LXGajzMMQUeB40yOcBkm5C5eE2K0SR512s+RXC3d+7xiOi5HHL9xOgbdWvmiVvejbz/aN34CyfIRU2mXRQshnkOxcxKxH9tlcb/WvdiGtR6E0INXb0NDXPV+cV03BM5E28e1IZ2m3Wur7PQxPxpQqvtmWybC7jhwTNBq4LJkzShLdlZLgGDzwQEgnFFOaW55ZBYIVvE/dxdlNgMEgfkzgATcBLOZsAJHiBiGwuTQNeUtZJQxDwchglAkfAkQQ0/ffffd99+L+s57QkJr1SCAmPJXqf7tu++QQcTIUISivneNoIr/OZdCR0bwnUOZFZZBfPfb9zaOCA0M6dhUmH1BlfGshSxWnzX6q+jDw8PH+/uPf3uYb5p28Ve2YbjjuXM6rPLECzry5X/I5Vc76uHDA5csJHVtUA/o8uHhbwcNlB4e7r88POD+vJJ26HCnnsTbKdtGnJv/Tapkme514hZza930DkFzmW6qo7150KSRbxj3JopObq57ojh+9AgS5TcXI58CvJfFfvwb7sHS7MI4V5JxfJnWfOjqpPT6gmU9RKvyNTGq1fn/Ptrhd9LhNoysvT6KY8o+nuR8uJfjbthBdK48PPWDy8h2GaaA2zXo9Dg7oIP14vDZOcLk50J7CzjID0nuRhah0q9dhyvfqrbt9xeTbtiTSxePbR8asvYtX7HbuckFOCF1x/qpaZmga7s3720J3LBfzhIIxaLKQfEuHO+xCm0KHGp3Og61O8WQ5hNw7BDSoi1olk1DDfJ/AoG4GoJkA7qjAI4HVCILXApRTegfTIhHQChGKBLe3BMq5DMjGY4rFcUwEMVKqKSo24y6UfG/8Et5CqbCrsAq6RTvUsrsagQYpccFKqAM4fprJ5ucoHGOEhzoKHveqsiL4hKhEw+8XDSNJNFxnydL084cnhH3cKX+mGKlYL6Jhra4zt6mb1isNKlW6ugOcHelVvsN9I2ND5tRAkdNMI4jnywZLc+AdsK6fcsIqdmtHm7lI4s67ApbIdW+JkbT6lDPaH9CpwXnTV9FN7qydO04RT60i2O4WCaEyus9oxYD88Br6XxJkT2qujjOw7KL7ZmkyTe0OiTpS49gv+WY8sxrFmMHBVpDSgVcUKnmMEOVA3HFDGGc4qFSZAFNBzNYEFlXEUuhjAOycAKDWdxn3kxznOst4OCUFmJFIFBa0x7pHMrsyhColLW6IAQ2QZfBKy4DtLhhHJTqrDEAV26RBTcVMGNbdCwgsFgTxRF05QzZ436Onpyhp5eJzJxWRS4q7DqBG4AZ3Pq+nbj3434kU8lEAThQZRfoVcUzvWLZqLhdV0Tl2eawcS/7A3SjD04Ldvf2gnsFjh8/kuZ/JbNSLcwJgV1mosRhzUhrdfpbN7oqwpc+p/gHaV4FiUKYKLJkjKbYQlWCV5/yZzf7U9r7XSPwLyz/mKQxt8eQEDzrt+XOCm9lZ7qxdKaDuqMetji8sTbDB1mlStl5mDcZ9U+aHfeJM6A6MhvMAMLcVIpxZsDdBJfqDFnzKWPgAO0JdzJUimCwq0pAiiEZTEuGcUL7FnAVBASnZJRN2MLy1xMNLaqcNC0ZXgVZFSDPEYHiUM0BByYbDkFD5Jki4CZhCitwhy6JyvYCCnqiB5tKWdT67Ov0VL2RDbpQhbmfjwEOXyYEQdxZaQgZHcWNqkeh48pW5l6PndJQx33s4hUzTYnD4m+hGIBu/JSi5pzT0Lrocgb4oJYT2s4PITqMhieAvS9t5nDJzHSlxuh24aWucC4oY4bka2J0aT57tBSKHw+EO0pCsMX3oqKzXFHtO13j240wAkjQFhDqntAWcNpaBuUecB901A3RhRKlwwWf0dDidZ3cWionjwojftoRSLehGtqMcytEKSfQPWkMcQXepWccFTPYJVOi4m+JGYSUMssofYKQdDflYMEQihFMCRUQsjkW0D9MFeEX7BHD+QQQXkBIOemyV6o4VMBCiypstriDRZlp4jYYovHAEM+lCWWWudSGHZkXdjWF0jS1yMRlHLnnpjkTcAxWL6C+OvM4zjxQnYJB7CLLQuHbREV64Zdl6+UW925hCbduhj49NGQaSR5ySGturz1rHZQLSdDoShdF1MfV7ra6rWTupqJDHoQEapeiPVLUGhwWztGiPV89Etlhk8ezOD5ZMlpmTMMiJTREL9DFhijj4jUSyF0Q1kitr4nROgFE09ZwJi9ZisntGS4a6EZaqHeX5LFM2emPdY02kKLVN9ojShlFGyraAoUDcFLIRrTSUlMkico1h2gJTjVHTUHIpjRyf8jcoKX8la2L0NBvIzghfcfyhtScw42GnHUAhnKneFFmyBpkRCDCEFXxB98r0muoB9hPmcLls+LoECK4JeL5WjDBqgMqGAwJ6+vu/wu4pTIAcYci4VWmYBpyyGaasQH7q7jZFuHwzmUcBZdJYUXh8Fh17LAhSNkWSRPKbOHyKeYQTnnMEEZhm2vQXTu9/DSz020hnJDDaTnQXjK3q1DctJVzBui5gdAdhCi8niNoZA5Fhnz6vWylIeR0nLlN0fagDwlDGq3Rll+TFOlxgo16VdAWOmoedCtPBYIgrRVFO6HQ534pGvDJktGlR2ZK8Edp6XKCOEXhA1oruq9erJP6cn4Oq3O4FEkgB5DuQlswA5xBa0gSu3t2CBB5IvL9AnDY6oRam4MOrvW7VunYAoY47R22SDpL3RwXZ6lT8hCSKSO1bBYBZA5S5A6HAbiKs0rhdxteIzsL/SBWvZWtTfYuhOzI0PYqilOxcLxUOWkchm3x4Cww5wAnbAKz5lk5KJQm7I4ge3CLBau4ybibmiqmrOyq/QyMG0fprzyYUKtjkGMtQRLIVbk9GnF3WsA8j1QgbHGogLvDbgukZHwFhcotVbFgC+ifu67MciCiTRKVXSszouennWuKQMuZyoTUlOXYQUlPBJDlxjNAvV7YdcMSKPayqCbiUE8PxUWSXPNTfS+D12Mn1AqBEDoR1BB1LylLj/Nr5qByIzRNKWqO0Jr3AMtAW84g/J5wojwoa3eSQ0dE2Y4inywZ6YxJ2kCUegdjdyu1oqXF3oFEIMDfRr46dgP1NTE6nM+ekA+ijyWHuA1ycUEoH1NEWz4CJ23t9HdMhBbVKP0W3SM9DUgBz2ecU2sgjih3KYW6lCCCCy2Z3mykW3mh85I9i6V6vKWX2sW9QEtvcS2PQ9gTrUwwxClQxa2p37O0H5HgAxB2CaSUWh33NMA+Q8+FjQAzpFBAMsylVpDYfQ6WWqIBmVPcSeyQxUPC9gQwvLCBIN0T2a1jAo7Bk1pLwjaTMJRZsApM+gim02IEXXXsMGwP3MBDgPziUgXUrpngUmbKWblMORzSy64Z4TrzjugkFTR3gCgnHMecL64VNvvbHwRsgSTqtheVh5KeXfKphXqtQfKTWgxtIpSpqil0i6xSVLQADM9pcUFL2VqzpI0Q8/CWDeqJ5lXrjZCqAq4zzIFXUDQTCxj3GHAcRT5ZMuozJuqg0xa4REuruROJsmyx5ptjK4N50fwEUCmbsIASFEWIyzq1zHEZaMr3AFVsCdc47b/6+qJBStHqBw3Bse4CWbtq7CjmLa3Xw0VQQqB7vbriTuwhuZUwcclQZaE5dUZZDjC0vtYnVdlZiHMR9xiPz3TYtx0XwaE6ZGQqQ6uvEribFFEBKNQsQ8N7yhW4A5ZFDTbgpgYTjqkWM685BDunwRNAd8I46vGeGcNuHEAVBIciq/AkRWoJJ3Bm47h4UmYcuVfKLCP30oQt3BwKQlw1N/4iCIkYGEJemlLgMo5aVu8y7UMaRuenPLIpE50mi2TxcaUwi+jeLLuDTNQza91r/QPKMoDWpDlKW+CYhlIOCYYQZayHg85yncaaHtx7SndszXSrIPJiWZK2SEIHfuxA7CjyyZLR8MgM7bLT6A+BXVpucxbi6O0KoxYoR09MnJ6+Jka2OnPHjaQkJSnxDoJaQBzIAWWeSrrXncAU073mswSPvIaoo7ZQ9frCEIiYEuOdrFgPJlyUbhY7cZ3jrWkPiLdVIIIMy0aHSficRgQEzJGNslFVcWgRIvUQ0U2HDai7NqrQILwg+D1qnnWQ0uyeaX65O4cyW1zGUXFKy2WMOZTZBY2hbg2CS3W/nJaOXI9llEPKqyTKzwC6F5bR6qVM4WZZRcKdDBGEpFtRdoNLOWApRZDVYMIptYNQZjMgJuyWhaSboNma/SYIFRAMaTac8NIsIRGcYfiQhpFYPg/hIsK4E4cPSiKBnGpcHQSItvv2/vQvyjfKjpR6zUELUGsHmurXMvhTZSeraJVACJ3Ia+mgydxf+ZlfS4y2LGx45WbkFYRmreVpT0P9QJj71eFsR9H8obmz3s4X07JrKbqFTDSFD0o72dqY8TUxivns8dJev8Ct0VCOmpSdLJiZtSRbUcL2nF9/hA/aRDS9lJl67rCMqNW05joqosoBpSByRlnHRJEbza/Q67qIaljRCVK/grK9k2w43btAoiM5dbzG0JdGpW1+BBDHiBsHpToGL1KqHAKF3HNTiBki7HYRV+W2hNkWyQBzKTOFiiGchid/ZjkKZqFY5/47gGVOEIEIpzTriqPsrY55CyKwSKmU4lKVKzUashRxE7IoWNMrE1SGlHWcYEGmlkDAAxMFBFtIzk1T+jfSdL7udFp1swu/UOCaUXNAsQQPqIp6LXmQhSjf7FINjwJBr6y5RtkTpIWSFtdpr1tpSFOjITtFhDiYrQCOxFUSJYJ6wRFRq9aBHDV2rxDW41qOIZ8sGS1PAL1Ztq5uXk9bWwREQ4IyMMU2x18Y6XnpjwB9TYyGB5o7RU9MbVEEPE4ZI4KLY9SLR7pQgn1H1x+0udQyaqp4a5MBzqAeES7IIFFdjnrtTJ4QA+EIKOIVIUIySybikqmqZfaCllbaS0bqjY4pirLYru1xgV/7WHs1Z6nRU0Ca26ntNy1THOiGJRhSyiyFTXPEcQQIlgUKkJE0YRc0gbDhJtiSZA26u0RFV1j/Io4QOMUdjuIzgFUQ1vEQIlQwmKA7YQtDmr8ypNnOpZh3ZZZjS4osmQUGl1rSoVhEQbsXQRJXLZJGQKHKmypslpF7ZByK6AnmJ5tQnn/r2bm6yC9V3SWvJxpW8gG12R+IAou8kl7V7qTsrJMhYaGT7pKO2s7kKTGQiTJ5kL9IaL1388d6ZYqesIyUpC3Skn7sFOurCJ8sGemMiVsILa4TFjJKS5dzgYaqNcS+9SsrIdBXR62viZFNAKOJlTcZKeNHBZ24HPIaWluw78BDuqdsJRE9o+zhkLaKDJy3PchK+LxdoyrdGx11E3GxByXIsGx0mJyKjyhrAVKnOHFokSRzY7/auaiYi4DZJdMJnXQOZbaH3DQn8ZFntlAT+fNYcZlwQpldYhnlNNmAPcNxUysgSzDT7bmkm3BLgiGiAgjzE0DlUGQJgl0lpJRBSDkcAUNWj2CalioLXmRTDRhMzBXQrgJOkYw6CFsOBzIUyFQ3jtlTMbCzC8ykCO6+spxrfE4eEopu1a0lYz2K4kJhtzt1hb3gFlVdoG6P+lmqxWR9pJQYd8dpqXcH0Zb4U2jvd17GXseU2bGAs2PBHJ1LF8peqbo1bM4ZDYVy7NR/nbL7zQOR/wv+vmyljOyplVqaHTRNQeSMLhVJgayFWlul53e+Kkq+OkddSDgXkXinHj8pTEJNCmgMGnWPaEjM1x9EKs4+BMFGnOu0ZxJTcK/iQKCeB00xomiqtIOt+eLOdLuNhFiSFveP09Chz/1iFujRiZaW6EuD2kg6kBdBqvOGFahDV8GTOggZhBxxijutOBTBRTWbhhzH7DXVbCaW+GqBCkaki8f7rNH/E0i48JohyFK2uQbL7XiGwQxWyyoS7mSoguSssDlhM0EwbLkQTg/GUXGp7h87YCj/o9DiqDiEwzajyph5MfnJZ5TnYkZA3b1QYrTX2cLtOoE/5ExTJbdoNNS0WuQhjdxfwwv1tgQLeLT8ohbOsiOZqho8pb1uabNkhRBhWSmjS47jS2qms6LjHHrvefI8h7uMSB7Vp/ea7JJ6+uvIF4JlQjay2JTOdXJ/p6m7nbwq+g+b1L1we9lSc0xbYQR6f0aYHhh7xKuG2ltk9dwoAohx5nVULdc+0DkkCJAzFjE103FqzqBLyDFZ8rQClP0wSE2U+WuktVZfhy964E4WV6hH6vDIyYmZQmQchGrOEt5jBucYy5b0wIFvykw4TaW0ELstYbDcZplJma4ncmE7h8hf+ML9CeAK3BgoRIb9DXXuJtjLgVs2xZ1FkTXYzYAPfTNkDbpL3pIORDYcluCUdFmBR2NQ/zxm1nExJHGFCAbrmbecj51Ok6B+Aq9uUUT1Xs2vEmMGWJSVmzCFm+Elr1St5iQIVXvF0GYnKkp4qaHQK+ogt5tk6a3CC3TeSy5mlJUqCjOUNEI9VW0N9MiRg8iOJD2YPJy0BYgiJ/ZIWnpzmBDi3KWiIkRxTuD2eb4+Xh8SRFBpcUG9hVB6Y/lCW2shBDKz5T3Ecdlxjs5o6EnpcDGnJPWQxAyCtkCnJUfuWavqNYFQAMSWzCIrLbkEM3HpeSXVUhnHWIIIGuFVfV3fPdzI2vRunLSlHv4q1okpAmXCZoxAKyDoasYpxZDuBRz9imSgh4pDEWQFhiQmwMJqiXWGhJU/d0zlt4ArxNKsq5ZIoYyDRcpS0Gf8kFIBy92UgwWVSuMQwslCidlvjiswxFFxh4uMtkUIimpebiRwYIJpCGzO/hMwSuMp2Qklt6rO6xC1q8Q++wPNUaGjRMTHPAUNihrrjsJU35vO5UYnKaazMixrqFiih3VGmT0o4HyUhHVKdwdnJEUpTr0dF0B2siAyka9bTBzMOnEaCH1GM6PVP6a1WRH6SGFaXKdLRUqyIpI8/nzcQUsJH/dZlDUGstHelFMs18gLh3oL2Z4zdyQsKRqnl5JUeM+FN2V2WqocZAjAoxsdxZVOmhmdJg/o9jiw1JQDygzAXnjcNEgqll6U/IS02Z/6oSDHFHk9PLY7V6E0YReXYOYSNpvR0R8geFFDyFRhs4Vd5M9AGrLFizRbvCgzjgLHn0ecewxPABEp5aDZBXVuimx4aQggy07E3DFVXKqlII5KsbgKDkVw95dEcwKS371iSPMbDLXaYhWCbpnLNDQ5ddNczkuciXE+rm7QElvcIk60NF4f+iiyqpXMVFVzMfJ7bqie6hCbi2ei8tYSzomAxuAxnZTcbJ0LSTmks9xtOm9t2bFEgpDbJIdOPQK0idMxDX1eWsZV4s4MT70vRSlE7ZyYqTcQ4kD2aUGCN+hV5VkXpdlkBVTDSPadadltolGUQtS9ooyvBUcNiLa2Y5sKLmlxUzpxZksKZSzye1FkFppiSZw8LbyZHvJnLfYFi8bLMgGqx+NYixwawW8hIZzSfLdSaaYXmGIDS57BNBQNrziFmaNNNWcJg0u1MHgwLoYzvNpwAgYzIIk/lWaLl98BTMh4DC3CcTLBoVwSCW8FnVlKwZoOLrVzGfuj0OolDGRqNQ4TX4OQclhNICWYDQvl9qgjfYXmJxqfe+tJONGVGqWTOl2+XhtwpxO9V4eP1CJJgTO85IUQsSAyLd8coyUiLiSpcCYoPcNXE7puPWSIo3tkofMsaChYQnCzrwQBRxkoEnP2JkUz9GGHcal4ownLSFkpQw6ycJRWsTlFWyCI6w+LqMy+CnxUiJIzOkln462X80YLba2FTjogWqtkpzl6La09TQNCjDMIcmSiGyV7LiJTq4wJmPIgJE9LjLgoMdxGe6iXssfgkFC0SxJhvH7BMzzDvbLTQVLbxt0K4mrnA2U2Aw4KpXFcQUD3PFaSmUVtAVNgiCPGsAHCZ0XWYHGZlAYX5CD+ImBBNw7rM4AprNIEZw0zpFQ5HCUTnLIXMOaSsoErkk73KFlxU6tDsDhUs+CUDv3P3TQOU1g1UAmyAVvEhR2u2DG/QMOpuJ+T+ym61SyBwFMdSBasV4fQHu3Umx7T1bqioYWEzvvhgqPi8x5mOurLCenbHXMdY1BGOMjEBV4D485EJykndJYy0lIjkjQFOZ8PGeyAtqPJ40RbD6+i1u5mJ+uyxgZr0RHJajkC9RbZy+2OZtq6a/SKXrNUAHCAzDAsJPvL0UrogJqP1EqoSQWPKWqPiqOjg/RCc9UYvdYnqlI8dEKt9JROapDKriDfRNLO9m5e24ceCwVR2j/SETepUKtjkGM9VCiYDWMzYZkJigO9qea0sMFCzUlTIVMziKJyjhiSuEwpryHoCr8DmF5HpViCWTJSDJUgFTilp0Kl7y48ixDUv8qb8kwPpYgy7cE0jncIoWjgPUxecCgW5qbMBlIxtzhUwJ3LkE0By2nmZ9x+Ol4gnLFj0xY8rNMhqPFU1kVp2JV6VVD5mb9VwkDIAUKcOKGoydrWNJ0jmeggXHTauuhmwSVCL9kXd/q6BSzV4r6mfdY6wEsHP7TtlQTip2Q1oqL2SpsjQjfZ2drV4s9FK8VKVZ0gCNHWSytKZ5FIElHCCH6EYDMGCVoClOnERYFaTAmBFKIlA0E8iGCnrIQkbQ2yZMsYLWl2ERFyMCYYd+IkaI8o7UVM3TVPFMsBZea4ROi0PaQcvaT7ySh/AiNN5JVEPWKngPcEcZTGscNCpcwWmuHmllGBSVcg0hV2tQVCpYBLcbxU+onLL6ewW/dCCKaQTeTRSqnxzwBmzsFgNw/M0uBgUoohjjLA8QxGIBFccCizPcRB98wxVXiAzJDEpcrZ3AoUhlBsTgSnZJbx6jPurO8A2yssP+ec8izEGZnnJbuIlC3q+aDFT9fvdK7XVknocZEkxkpLWgmhiq75hebmQeT16EQH4YnQL4QCRc0pQhknl8IlK4TIIp0isCWcuA3wKAPdSBtNBfAyFkAOHL1PQHAQyR9LUXOEws/SXVq6Oe4f0Y006LgzWRlHnabaHhrSG0UvWQuwNF3cJIkfpYxakpyxkV2MHA90uqA/gaz/ZSHitsjNMWTBzcqidSF/NWF5p4tE8htHVc0U2UU9r+/HnUocwlSu3qXsAPHze1EzdFWxNDuEUIBD3ThMmRW4VHDKiTKTssLVmMD4X/AEQ5nNUFgKDf8LuLibzqHMFjLFgYqbDWYZ/YIOChMK7EGWFlqTEC7iWHBJorLMDMKW03GZcEwVp5R13BJwGBfsBkjPrJr+4aRbzsTX0H4eK+1RdzOBS4XTUrv5R4TeLlRTScAM3exhLuD2RzXntLdhF9mIdO8vJl4M8KuXjQYpIy01IteIXz+APbEQd7t2fnNhreCsOvuHOKWPUOqMFHnUVkhAvCCisoSVglynVxUbHbWgeA4igVNziDRu+w3uSGtfnZBCzYJZEE9a4pwaaay52aqI2ydegmFTgjhm4e7dcE9oqUxwRJ5F3SIHpBlc2UVvZcftMofTgB8BEmTVzWrXyArXiHkVKdVhZhKSDVgcancYdcweG8Zi3BoOoUADbBZlxm37DGAkDGaMfM4GMpUgLGNTFXAnuFQBx+GHMksIEDgMpckUClaBcS+CIQXdZcPy9cPDu3cP9vfw8OHpBzmqPQG1cqh0tL2RtH/39MPSvDkcXfEWNBtIBCeYMk47pffvPig/GHt8P2PPzmElyd8qAeFMt1sefBL3R6Ki9x8/3Tnd33/88I6zVtBojzSydLat4kJG7sIsOQtAhpzQ+3exfYX36+MhReX7ODyU9i3HGK4sUPap03RJFlqahCGQxCntOtfm5rrcyq8k9ZDwoCMA0qPHuI6iI3r/8Rc/UuxQ0eP7VpNjypZPD7JxfRN8ePib6t7x+w9yHRBGkeoHzxyStT4Z25oSH0JwF08TZdw0vIw5cbQlDqkVltPCQnXZQYblVfTa+o32JZ91ydWoCwDvD1H2+e2ELliSGDMhnjoFlGAlqgvrpNiu7H5zQToqCCr1ZJLeofQxILphw/jAEFicESxodQKehIPLZNpUgsIb6rg8U+EGFGZnkcOAqwSL608Am5qt/3HMcRrHQ0Eos4EgSzCswhZjBXb1cPcQDqULu3GQUszGcatoWI7SF10isLrPv/g/7zR6L8e1RL0WRW5CXAHIgd/b+6OOXlkm7JqqIEFXX2VEOiqcZyA//baxb6dlEpJcsrhOGUVCgYyhbtgCzH4TfbjzsQZ99kRSLhtLM3II01MrLdlyT9o0QguSZffuVc3faWzf6OEu/m2Y0e0GC+ViefnA71rXL6ddj6MnkvxYgnhPjYV+IPnsb7nTpARth8qPlBzJ862n5hj84t0RffE0qG0kEDZV9hXdHVBWzKU3Wh/Sebt5WY24ZAdK5fQ8dtnZI0AjqR0FqZuUldkKRHjJDISKlNu0lC4YRMGMMY3BoiV9o9oKIAtdafhKsvsLTkrz1XAvhJHhpFEGrCdwqcLNlhsxhoY3yJaZ4O4wZk4h1/0KjFzGUWB3Ntch2ZZEpuAEwgZDVNFnANMICMdUYgOG0yQs3BDBJQwp21xA0xUvFVCuKnqZf4djZ1EEChWzCcvYlLF7IbrEB51TOb988qu80Xu71EHchmsRN2F1MtTb40zwTqowbDCbsBmoeCQN4jxL0rNxWzYoz1WIq3O6UOKTW62MjpPCQ2KRoP3me++ZW0SdGPV+LxPaoPHFLg42cVHrZO93a78s9L0ej44tOSwwe4WcUxVE1xmZxpKyu6t3kbJ8B0p6BNkJMncrUZV7H2XRp5bfJJJFzUn3o3dHdKfxrP7sUaJ9t0u1i62OrwxCC0XmtRRNtk5P+tpTaH3SxOl2hZKe/kc77hZdHclExw0jc5xeqEUOWs0UxWJTkjjI8ZleUdopm7BmsgiqFjkkP4IN65lp4AJlt9V5fMQXnAC8AjcJHTs0CcTRsLtkFZkOXMxtIXdYVYqF0hUyVW56FSJYkQw0WKYhlXAznt8CXsIMSTXPTApHWBUTLF6Bm+JS5JvRIw2v8h/2JCrYBkpplisypFIYL1GwxHeYyYjIQbs/FrGkN0QfwaUcbO0jEZaMQ8hu01QcygekIwPVCTc90jk7153y1A0Kb2mbLraXvVA8u0IszVfab+r68EUasTRaQ2teCCUpPRZkkHyirIVstG/iqWog73LaRZl8/mDpkyeAsr09ThStXcq6NupdW2IeyxFRX4UFLELEgZ4x0mMHx9H2amalg+d0Q6dBJ6lGwwTw12ws9r0HmXRTXe0/aKiXkEeBziUKQQYoEU7KLYqSrKZmYY0iTvmbdF67p1C/COJJHAcFzgwnlVb/nJZq7i8xB4UYnxMaZvPFvUjc6lUNZ1q6ExHl1xecmAYzC7dB0BLw05oZEnbyRLhw8sTRPxKLNRMciuwuzBBHaQ5UQHJSWLWKHltgqICnMeZQZjEBXIMLSGzPwiJkMDjFneCUzSmGrNagu0vUlPL7f+Ly+mCHn4XIkmlJgz3a42X4FYSp934HfJdzKjmO+2MRi0OcPbAos/KSeHpik9PLpYHB4lJiwoHsKl59K+sidDnj06LrhNO4zuRCA9nMD3PAuFAsPZw0R9GTj5OpTX2MUAtxMhQuZ6rkgLjY6UYbtCAZNzGXNBhUztA+k3E8+mM6xJfjcZwB3iBpwV0nnR4ufTHXFyqVkIkyE3k9fO0gxlGEPIvRNAvbD5WJWj/plD9NAFvXU943VeuL6GgXteJEc+1Ex5VDJkJiWW5Rlcz1iG6JDG+ZmS6WjfSqRWBIKSeRV9BxA2Re3RtTdpFyRJkCSM1ySGc5u2N14EStDhZRMTup81auzCBxMKRQh+b5jIW5FFWGl8YxAXcgBMlblNk0OwwETRLMEipARhykFEOabRGT/wDIVGQ6CrwtP8V9xiylYOPP/SxgXrOFTD3H9M+mY3b0RIqVmbDFEEfhLpJZN7xEcfV/Utlx2x+L0JvDKm7CdRv5ob3OkPQs8oqqbqHwKLFHSvm5tVNftgeV8mwdZaEW2erU6hph9hfRhTKMhouA2vTDaVqpP0i5vKSKbLm9eKXDTTyRdAcpWttX8n1uEDsDnM4/qKd0OGYkVK9de5NtAijxlIk4eVzlFFlusRH+dYYe1h4Y6eRQQe+7eK6oOULuTxM8/xCgVUyL3vaCVLIcxoJW/zW0dXfS2a3lZJ4LW6ODHuz8x/VuI+50lIX2CAjxo1ZBa+ZW/Sll42y/4IlQwoUb9cxx3SGd9n6L0HiRW2R7eLrCb20jUP1KKzs68paVUpaCkAazwg1sApI1BD4zBlJaojkJmMuQNbhzmeYUM9gQ+xD3CZRyjreAzQsbiKBzADcHIHFwC7rKCKQQ5NiHqjsU7lFZsSizi2sqDQHmMmb5nuh3Rcyr1kc8Wq5xa+U9rIas9LO013MB8yVIWTZkDZITHitbEID0raPHydeXjWCcnye0V82NWtSW7Szu3OKMHn2cRJ99KCmNlhC7gWFZWjSJ8ZJOLwKd1k08Vx3Ttoucnihx8zHdOkb2PUQ0dq1lt+aWRx0SZUnKBUKVaRzBqi22k8WHQ+XHG8s6zxZNE8BfPKc0LDrOrFdR1ldDQebA3pRGg8/ioZ3WoiKOtSQSnC6SPefoFYR+5g6PCfXcFpi8CASt/llkz0wkVVnIeCMkD0uW9OIulEEuQ5BBaqY9UoTGB4Iru13jKQ5KMJOmpSW/SRUMybvYzizuO1jevzPrqYJryeSltIQ7FQu7iKsGwJCyjiNgcHOPkTsZaukAi3r6j4JqV5yQpZTZBXEoYDGpgg4Yk9egsl5C2lVYp2MWb8pM2EV12ILhpTH1/NKW+OBHux2+/a5o5dFTc1gp271Mjv7eHrMkKlMuNSUIpLCyRfk5Jn/2GTw/JQ/u6DdO2APSlXFYVJG8PuS9Gw0gZUeSzAcfJhPfeUHohfta3G8ndMEdbZ1iQU2GTbyWkCRlZJjPaaIdj3gLEvX7PtXgDfKmRnvXmTqajBr1xXCPQj15QlkIsHSjnh9E4a6idO1QOaDWUzrwRU8TwJ+QUprefF43lZeC/IRosYluFuy0dXuynIyjJoXJ3D3sNCcQ3RIZRibBTeL6RRA/p5OCm21vUA5CiPFCPY7CpdbdMfdvo7Nx5Ol4Rn11qjtBckrr/E8tJKxB8JF4rkqKu3FINrwKHnobFAeaJDMFwZkfZQiAWdwP3hVZg2BI4tWLzwAqp5STOALkNb9QtwYHV1gVS/mOOMCi3L/jZ8/jPNMasMvKTNiMBYcKaKZ/AcEfi+DSvdwVJYhW3pJxAkfWS2+PmGVLiQEELrig4KbM+jnmi3Q6+ICaEc7VUYKm2BSltIyBvImyLYtRv/Pe6c8u3l/7XFcj6nGinkPxWf1NOp00bbQv8GCOPh2PoBsLPFkZTx11vR8uR32NcQmexI+yQZbUU8tfSJweSIeHSi5ol7JBzRGCP04AcwY+p30vrAsIwnwW2RSNO4D3rbT18se6A3Fnrb8rnR/VoK9dkLpI3Ap01nbLZXPIUYTMMWVBtrxMrXxpu7uLZHChjGQNNIurV5G28HNyPSunTgNHTozelup2ZV0FQxIfcVNReGzCzlFTzTUbCNIzYwISXKacVgA+gSwZLgyHhRV76axvAZNxGLYYyh0PFCKTTuLyIe5XuBDE/cQGnpfpmH4iz1Nhz5XZPZbiKljkpS/xg16z4/D9eE/0w5N9CDDalTK7ILRfnwAGLyp4gooCOiqVsz81tkQ/7YSmp0WVPaSp6lYzvctxzYXFJFlt+2LnI9YEuqh3Kt6yxJ6PEEsPE5mHUE+nF4FOD35kGMl456pjWts7bbO07Hdu0IaYTkqQwnECaDXtUPeuexcElXryNllltsh21IHN/jBjanGil36o/Ipobbo/RuMMr36NqM2Rg/zMAhkQBcF5sd43DyhbXZRjWgpFyjbK/J5qNKcj6i+K3VvoRs8bHdVf7UfqUigAcJWyFI0X9xYtjYQywsF/H/FwIGMQohT3lmvkjUB6/NdtCszSIDm7eJrAYF2BQ5mlUGWKS60M6R7E/TSOgxmkNNgiYQmec4cbtgmgoeBQKa7S7BCSUcYdpDToLqtiNmHtYOkTQDuMqKRarJ6p3XMH0pRpPbanuyIu26p0UqqsR3MMJbiMIwci1rY/VpFepAsrqDqzhRYJhjQ/I7IcM6qkf1mujf3gaZHljug4uWViMaH1TlczZ0+zHNMyBf8Y0SbX6aT+Ff1cLI2jAysfCx/lnHTnOWxb42+IVRe5RNvfiJ0S1+xdcza6lr494nS6mEwKWOQyWTmOoVqt7CZF6OBQuULcTTnuqx0ngPZLgEbTRwDpzBrJD4tOLURDeA2tbb6xmyA0jx62znqi527QeT1SV/rkAtQjkhgu0x5hulF/1FjiSCUQAk73mKykV6eHwOIulEEuQ5BB6pXm6BlZC3tpBieFaIoR2TkNJqgMSXwQ6iDsFjBbbgYimRIKINyxsCeYWUqNNo3DsBRPkBDK/4pTyillNli/BRzRlLKLW4CjYBU3Hkhvl2AW98s11bGDl6d2hX9nhx4zg7A9ml5K8a7kqG1LtCcu7aotdybjOo5T3Cnl1lsuT+FiVSCuyl2x+y2SUsoWZPMBQ0kH7y9eI5zOKU5DyMnu3Y4PiZunGF0ea282uxcp21aTpfHuLuJh49urX9Q7MMrdJ9HteOyki8PR4C5Rc5g8caNrK4tV6X2FJxbyBwitqRs89LPZnx5JFjugg0MFnZ1LUXOUEBgngP4hwJf5I4AxhHUJnZBNKWrOq2nq86xHrj+uWzLlcsJxrxVvkW+gpQfIHyT0wB0iMpFllvRpg0ZUhkY32l3s9s+ho4X9sUEMrSUESZIzu25eLGAWjnCsoXANpknYrUFmgsqLuFqDFaFAzy3AICQchxV2TWHKUVSlUAhVFXJcvwNotnMZt1S1g2LIcc37hw+iDZpagcn7d1IVkUqI0qv/do+SBOZeVK784eHhPRLKkEyGCmj84Z200A/LZdoOzlt3xSC9P1lDbwz17uHdw0MmSunhvzwB1NXTlAzBrCkzKasvMsBQD7psXZB6PiuI0257ApinJMAup/T+3YdhZkatdOXMnXvS/7PqsJFV209wB8li9i4kMver9PTu3fqJQdQvckiVW2o/SL/sfzO9xz/7PewL2w65/QWJhYv8QMJfdBpF9n+CM2RRpFSPh3qUBeWe3DJMyO11sqZ5oGQNF3TyME4MrNf7h3cf8jBm0l7WQ+Wo31dQ9sATwFqOP4OlN59/davUTgodIMu4FkYoSPL6y3JKS63ITFMFFzPujtES8Ytpp6wRMApSoAQ7ZSUkqTfJPOQ2va4BFzG41RIlQ+HecIlks5QMLpSRrIFmOaOlNMVyemYCMlVB0Ror/+mr35+UE9QNrRiSuEIBMwwmZTrTbhw2u7nMKc1haXANhjUIhow4vUCmCIRqczQwpKyYgvw7gA5YyoIrA5esgQoF+8eFjNR//hBTjn9+pNZlFT7c14X17t7/z4cpNe+1r3aF/8W6v9cv4HqVTvnef/yUb8d8vvvlI7IQvQ79wIP7gsxDPDq4+4KbjfG+xE/W6B7X9faZq/fev92mXl6e9P/ReyOlz5/vP/6gaa2x1vsTQF1yzFlDPX1tH7/K/32i3Jcfu0Jush8/tWXfybKlY3p2Mv+jWlvdoJozffGIEv7/BpMsLP8Flm5tRPupbpvEsRHSkA9tpy9TtXe60PbmGvYAT2xEVorou6lvql/WGM1e1jUWkrD7Shb7aMN6/GQbj/pMGj4DKC9gij5icQ9xYtx9qR2ktH+k7zXHox5stNXXY+LHOz0mil7TtbZrR2XbsLbLgvzIUloPlL6yRtggAEx2/Ej9u/v6b2u2O9EAcnKoHFFbCRssulpWwpfEE8CaKseHAOuE4tdWuv7W4SHt2SVy3nwmadObIXDU1Ulqoiz3RtkWiXSd7Jq0fmzgfwDxaNcxTxGhCqIl5JV0o9HSbboZ+QuJF5ZyRj29tzKwxBrJeY2bGUv5LRh2T6/RQAHThG0ueRVkN2LhVTAYkpgDg9lwKXApB5CMhSpHjFv3Uu1sEl8CydDohaWv7oZ1WLiX+AVQ6fH5yf65aNJjn9o5v2/PH4zk5mo5qAePbvRAB9HXh3YXM/rlI03qhPndmju5uzx/+dk9I7kxS5HK4RLf2fG8TqJ8oHLj/bIPQulOH4DqWHBeHDwBjCea0ZcXGH3WS6mNTXJ8t/v5h6/aWuR02XbSKW1PAIXeuWt0n8W8mMflNN7+8b5s7Qee7AXEXMQ87mLa6XzH3tOg99yJ0xrqT4uNPvHQhJY19mhfY489u6/0KKtTU5EfkZeeWdbD4z+tqB96Qu19xUedEyYt7SXVhsuEGUpvoMeT9/T88eiY8Pz8+ylGKNnGshyVNG7+j7i/5hD2A+Xnf/qLBSfqQklci2R4PFRof77mUHFaVjo/z/fS38/17x3xrqorQzRyV9aZB+JnVqzMq+ibGv0BwvJSmPZI0By26NYIgRSKHRFSWQOwC1JJSzzxn0JDV7yAxHuQI0NAaXEHymZjaQa5DEEGqYm2QNJxhulalZAUQtxxwt1OGeIomEHYjBZavVBmgyFrEDpdVx0yQ5ghzIPZsCkzKRwsZuM4WJVb+4tYeI4SC4wvgbgLtblglYp0YMkupvwCqCS3y3Um9csP64D4J2iJPvnTPZlDfj2eAEYv44RE6fGdV+gDuq/LXfiHddGfbAYofDYBFNomcGj19J7vgZ0+6YMZayzU76qY/9kET9mUfuSeZx4//RSr8fW5zWN/uvcWZ8v2BdtJ15eNaJ8OaZXRNB3CKdym9UWPMa+o03uk5Q39pE96z4Yc3tW9i6RYFJqJOjygrMzrljWOTngbypQbYfeVHl+eaM3rewBM60+noJP1tUfbDUKfrAqj6+01fDgBnI7HWJmX5/Njwpb1/KpDXSOOQXpk2fKWz8LZQSSJWwdKoxh4kZ4Y45Hwc+xOofNDBWu5yNomP+DRh/tBS/sE8H29z4uzqlb7E3dawxvIB1HjiQBiTJy/Ik6rL5QhlqvE1a3Z67oJ+oYm304YIksQIGfGiIhTodfT9bZtkUZ/ZLl/BWE8+ziVDqNJWuHPPPyGB2EFhkoAXF5wCxQqzmBTZsGLUDgBJGMpxZBCBF0tbthu0jIumA5MuvRITpVDMMH4DGCrNus4AgaFM0xAFRAzlF8AlR77Yw6jX776JMvl8B4l94jo+PT2J5Ml6WZfUNC9dWP9LE8An9rbRkZy35K6195wpYnNAQ/vpUqfn37Ik6C3l8ZxNrBZJgIfkdJkewjjE+XzZf/gCxba7+jTBNDO4h89omQTwFiBs61dhPPcnUYfjnb6rzkxOLur2+BcQLSUswOqyvY1NtqnvNLEfaXHtvmmz+EprQ/kNLYeeu3RsxK9x77vosPjETOX/Xiy8GErpc/+quBVXWuk7Rl6ltePSsTODhQZI4RpcU8OlZ9tw2r9+QTwgPpM79G3WFuHPBPaBLA2iByrkqwmX9YJIPoUEsByRC11XnpIazP4hz1NiWwSyb3IIhRGcas7fueXy7LhIkiBEuyUlZCkkybfRtVhLixDCwZxMKlHUBKFPXdO3BKSwYUykjXQKavPcpSKTBDBpCyGzCSXIBG/44kUgjATVGZxPzGlIBlME9htcJlCHCqHIikVXYpYrZ6bsWRzCucMD+IoTSiyIf4tYNMWSlAoOOXYBgrY3gKebi73Wan8sN0Ik35+sLdE5Tg5vEfpdMw6a7ephT77ysokq92Ff5huLfp2qXR6/lhk+VcPMX87fDMNlP+XYPwcni7XeoHYOdOeqUhzpL7yQ6if7rD028uOs3C/o1+aDvnbnUZnW/sOP3TTCReBlLOJCWbY33hXF7rSt9Cwxjo2XuPPFhVyX+mx7RLPbzRtYm74md5GLqqHYvvhcXoGzP8L+OXmMSErLHR4qNt4hq5bt96JEh+VfqzfOFCKcFwweeSPHipLr0VtR/q/9n3hV686T3dqE8By8NC2NlB7Vul74bXk4z0c9l9C2NYpx3QrD+pV8FhAjP9KmheSS9/Tx6M6zryGsOi5L05kHSKL+6fRN3Q3Nrk9uK3CPh6q9z27q4E7hLgTDClUTsVmFDajbjLbuYwj9kxVIODut0TzKB7SYHPCOhblTvCiVpNcvwNYphCHWFwFs1BMlV8Aj+mdz5dEjj+AZBRfoj2fjknB0S0A9ClH1+7C46MFvaHJ9Ot8icsd3tZH5HguC3rIo39pr0MDJ0Bde0whPlLt3oXnNFeW7Uvf7ugSHaZDSv15WJ65/THJSv/UuqwV0hmqQ9D5Tn+HxhcngFLrywK61Xc0OFjj/szTe3Zf6ZH3CL4lEl2STJuYd9qP86GXfe0TyMN50PgEEK8fbh4TeHp3uMWOngBuR6UuTBbnASMc6hcOlEYIcPjm7lS6cahIf7tsE1/9UGF7ZZXtlwlgrSdeIbijL5GGCWAsjSkHsYhToZ6+Ik6rL5QhFk+c0JStGHrhmlb/B77+gX6yc4BdkEpa4pHKcMoNWqpFZuJc4j2Y4uqAznK3KNtiQSkZAUh9iW6VZs+tsqJFPYAKj9k9ze58EIIsohYX7RySTclk55QKuLuLqASpdg8MaT5FBkP2LNqclHhrtgJdNSciKvwW8KRYikOlZDjFlV8Aj+lzfSd2eRm+kd7L5Bg5vv1hKnk4XXOy7/fqPOTW8oTe22zlbAIoB+7+WEQWcH67E8INQ4/79a4qQ9M1tZVRoEjr2jto/gWaHtU+Ze0uLltpuKPv0yGcn/sbokq3tna8K4g+dDVCg27udKs6uatnx9VroGt9C01rLLQ/AZS4+xvZtLbGUDRt4guHnr8N+aongHhsuDeQgV04JnSB5691poeLrUU8t2yLw+PidvQORAfKQhG5sDul9OJrhUbSrK2Zfvx32WKYACv1CWC9SNADoIb4aZsA7ismJMH1FVHQUj82v0HSpjWDf9jTmMg2ke1e0OpfJu4LeJc/i867QjYXCjkiT10pvUjcFfe2uEK7u8i3kjXljlhOqfK3Kk/I7mjyOgE2maAyJKZpGSMQymwGHCwyBfzPkwQcl5cywGLIlgxVDpuwFXDThQsIV8AURykkjCeAhhfVgDthORCwGALkF8AT0k87Senz1/GdMKY77fLl1vOP5Tbx+dPH+3YL1qs2poAX7sI3HotMTwCxOuuKf7r/+PG+32TyTb71rmqbwx6GYyuqZycWT0g+xXkyPIVyL+j+/gv/sI4Sli1dXpoAgsbPAC4z/B+Hra2lx3Rzp9tyvuWufqlv0MEaj1Ne91eSKcMBfeMEMD9Pt7c/PQOmR4ZC7gYNx8Ttrud14d+7s/dBdUtsR+WlA8W3oRig3KYWubY7z18rHBMf3nqC9F2Ed7GtgzYBpC2iX92uSePD8VvAtjI1GMU52+9kUa79txOPJAe2Dg8JixL8Y5RdnPSFFJbHZSdNlE7TJ8k5JdFMMJirPXOQ/AM0dpoRgNSQ25Sli+y0pNL1yOor2Y1O/spAlN0UhwrIyD03ByiFGaZ7WWaqmOBWGtwCocoJHk0wwZ1Zymd3i4ZyaE8AHZOqWI+WVxEwC0X9AnhCn/XyJ6XbW0SflxuU3ElsJnT4kAIfU+q3FZ9ltTnWZzwAbJ8BPCBMBl71WASTyz5njJt5ewoS7xkud1VsjfbdGP2vDkp8S3nUgmdh95X8n55eWza6XCefGr4wHfrRmy9bG7OE/sVbuy3TeQ4symTd6T/uO13LL08A0S/Qxb6lflpjCfOMwx6uatz9lXzbQTeZNvGFQy/mUsNTt8NZGl6Q7A1eLh4Tt06ucQLIm3maJttROZ6Ww4FyQuvuvPumQ6X2C4lS30J3/a1t/sxrnwDWBtPjphr1f1feFp7EeKU5hw6ui9PqC2WIZQuIXKcrTbImBcR4p5PUqwlLYolw6ps0l1FvF+msHL1lRbqILO5CY/Am3Wh1kvaUGEPf2lHc8urOx8gBcNlyV8gMGRLBkLKByqEIpEFmF/e4xo3DlLLNzSh0JcIa3NxuWrIpk/4WcELIolJUOcg8c8r+FvD9xw9f2g1KbgZSpvueJxh+MV+u5j/rY7HnD3d3d59b8Y8/3t2J2D8GaLfWR7/wLp9U0qG99G8Bg3q3Qnjj74P2zg86fhJfaborYnLZBp4Pc9ow8qsYW3sdna6pKGUpwROCtjV12ZLl25HOGaTw2rJB0x19mw5JnyLT87A2ol9tfq7Utjbd/LYHHRd2us0fPurW9gDItv/dex9bCsjAhb7j654XprzHTwAfdWSxQXMIRdMm3g+9H/dDz/va28sZ8ONyPPoZcNDg0jFhEzA9uYZD/Ufvep9bLuuCsjZJsplsO1AOTkuL1gYEEg1wdXceHyrHZEvoE8x+kcr/OaIL8JjSe1oxvVbklpPDhcd2uHDvVklgykYH4Vu0NoP/qp6ySbTqHkB6RyQFf+AzgKBcKsAuSCUt8cQ7cTwrIWNEyEB6G2VpAiHglEar/+cQLw5LYJA6aXFfQUctJX6jU6rA7c5ve8odpDCvsDDLmg62NJCrlODNFKpAGBOEM83KjCMCU0nOsRzA8XyasBSqYNiMsgLTW8CB3KkAq+6pJCCJUL/uyzUS94f24AFvZq7X3/jITS/9kjOIduXHgw9QS1gv1qS9vse//dieAOo9ZflFtrztTx0H9buizv9enp7f/+3h/v6XO31jqT5x1+7N+amy3l5Gph8Ksm2orCjWmit9nsIh3GZe/vPp3Qddtj7AOl22LLwvG9Gr0yEZVZtr1EbpWzvP740OPme17HSP9tmCx45p6TuOkbHvacorxGuc8zH3gzCZ+egTn4mmTTwceuuPAeahN7UXOjwel0eGfvQ8PdgxoccjPc7i/fdj7qajrod3l7UNL883HtdZ2ZUD5WNsYjE5lqB5d7685lCZumXq00YmPwnQmhcp61YHCX+LTVrwVoxNZYRx9KF0D27WLcl/J10bCo8cckycz/JFkPqr6eIi1jIMMaOMz8nLqAEgBZQWV2h3F8ngt1D2ssh5aqHjlMUyjQp74CGct72UZoM5weKqY/ZMiaE/j6Qin0Aos0OgPRCLbAJWZA0yWr0CYStvqtyWIJhmUcn+BBDiaKnZIavyIJkC+wXQKW6T7XYgkxGd8bTLrz01MGp3s/qZicPbH79tR9O31r0sUQfZ3/SJe2u/DSOmNC9RB9TvinYw5ziF7L/j+oHeOo+i5a7qW06tQzw5kz8eMeZw/Fyk3kPLR3H0n3n7sn1A4x39YAK4fQZQ6MrW7m/tSf++aKVLO92DvdhjK1H3W9/IrX1r+bTGEt/WTmvdd/q1NrBlYZqsm1hi6wTQO2lDwzunQ3unwzNgPR4lIt3YqwojPSYwtPWYCLratQf5qMTkkr9yjN23Hyi6/L6T+H1WEGpA6+703KsPFaw6S9DhF6X7EbxMAGuTfKQN93GfAO6EZdMIblCO+KI4rb5Qhm4K0+5WBE4L7fSHHwIKnfSP1D4MwplkKWqO0R4RquCYTsqsgBsd3erqTyEeD+uUbyRredbJWa7iduvU+559HlC5mwm4A2l2dziCv55lrDq8gMGlyguYQkk3jIPLlFM4LE8vQ5nNUKHgUASDXcz8h3uZIQg3vYJNBQgOpXa5Xeb1uc8LMcFxB5QzmP6M4OAeRY9f2p01ZxTS/XrrkoX2u3AU9wXWYfvKu+JGX5/Wf8TliX4P0yc29BRcN6OXKfF91P7HA39myzeDtgNK2v8xnEa1fV+2RqfpkG0Ffh7mnwHct7ZVDpsEcWtk5I5XgHxFJb7udLQb7+roKMVJkReCzg+oq888ldx3ymdOTjWEpGkTXzn0oq+tPeLtePybhZQk2RvI4aBzv/Xt95en8ZgwOuhaaFqX/tLAjkrennaqzKel0HDuxDj7eK/uTrQ6mQAOJG1M2mFAhKVZz6KWCWCdgf+kDSFNhgkgFrRTdJ0y0Bw9p7Uz+K/qKZtkq8VVas4tyvYQEOOdkDqv+SP0jT0vbbiXb+yRCD0sHWZkcRfKIJdl8JSOq661V+LKZcGnnUgSNz3c9wy7SeFwSjCbULDhVSYghDOw5QW7BK6QMNyMk0M207u0aLoJ4EAyk7IogsFlUpz5M4AsqhxUSIxbD6hKJ0Hh5cuwdS9p132buLRPn8dcQqldy9/HbWycjkmuvSWkb6x5qvev/zSu/w6gj0LL3QdpEPTau2KjJ/oP+EkSl+Wt76vZzbo9AFT29eD3wWzuQW31kZH1p7NbzTkdLdtouAG/Yjq0bu2ktrXrI2crtSXpTo9x950+BS3Cq7lS75sqh763NUY5r3G+l+6+k0bORiE0beLh0FNyH+Sxsb3QeAYYLQ3sdXU+RAbJMcGzNpDnDruW1utY0OHZUTn8BkwcKNq4n5bDtpSAxYbdidqLh0p2dEZtxZPaP7XeJoD1Yvax9p+uNXdWu00II0GfB0PKkpT/sbSPjYfN8qfR0m8KUklLnFMjcWXKHhFB8BJlAyFglgb/WygXxvoqofEur6KlrYgrI7vb+RNASOcUd1YutXIpY8HlN5RmxEM4pTmQRZkN5M5hohB7ixoC7JtdUAXat4BFOCeKsMcThBVlGhaAlV8AQfW6vX2gx24xh7eINr2y/5Kvf/s9CsdQ6/gzPv5t1OZA6L/fhS2kxLf9unmMd0WJi+x3aIwF9PTuyy+tyyQvWCaQdrOubQjXK9sUwd6Yop5zo+X96uXpw+uWLQFpe30CeLi12+zCdlqReBE4nED2ne7B4a6+U/Y+9I3c2reEDtZ4fN/SfVA+00bXIgRdpk08HHpauh96Er0yAWwvSJYGL3pE0DFxdjyiajrUjYZvJFsTDyjpUflC76Viy188UKzWCAOJQQsdHSp9SEeHSnUkaJcg+lW/otzHTssEkI6SyugxtE4AaTnfTDzoK+K0+hW4KUxLZHQ5MtGW5zbAuyAFSvAtlD0u8s20d7Lg64SGKUmLK7S7i2RwoT2ykBeg8SI3qJcSVFrcgXDLU5Y5YHv6sYiHGKvEnwnFOeTAxXAGHYSNfHqbCtgcUxlNU6oBdw5Qc9htYFcEm5+xSgkPXwJJXA/3wmYgwYZDufULoFF+qmm5nNtV+/Cm0+4deYs4Km/xQ8I9vt2F8wnP0TzjcIDzHdrW8+njP+d7rZFX9vZ4GiTbTl4F2X/FEbFHONZlqxWX3wCzhkW3lo0Op7FPz8NE+OYo0yEdzfWtjS60DdOwTVGy7nSLjjsmO4Y4CWp9RxdKa0Lo2pQXPbgPyuPxhKZN3A69+uzbsoZY4Drpkqgmtm2HuEhvYC8gtIH8PX35dOF4nHaL03io9wbi8lGJ1y6tx0PCltexLiShwzG1xOmhckzSBtIn5kb+WidLtglgDaCmgjpAHphvKu8hCBhBloEOE+f0jc1eRxcX8t8yEOhlRLeXHBV75djWgrd7LZLa15T/5YTBpObhJVjpMHGaWui0Uu96+Hj+KjunuMMM6byD4hR3OhYTTtjKJCoPkpFFNVvYHQLphJ3ccjzgplAwhJPA+F/A7i1AILQ7m7hKMwT9AmhUc6z+yR15Pb+8D5pvxwq1uUC+9G+X/XgLTVq0m98hfbLadrW3JxcmB08PxiUa9RtuPWx5aD3tJCW2xPUOT9vPNHoD8ZjlbkdbjT9ZdWnZRpcmgCCeOvic5fLWLoqNY2jd6UiKHp/37Hf16myn/YByGvo+mPLyGs9vAWu/qD2mdfcqbYceaJy3TLtI6Ph47A1s/md89ZjoXdvDxVjHdV18xfl0/vjCP4Gsb9aKvPJAsW69b7fD7kTXFw8VIdSf0z7QOgGc1glgexfbSc9Z3oq12y4RRsryp9Fru8sRZKvFnShLWBAPy2EhxjshlTUAu9yiGyUXejglHkRiDg6E9FS0hNNFZHEXyiCXIZhgp6P4H6KT5RVFhd33RMctsHiXnmEVvMhu98iiCLBxzAxhRDa4myqZ/MCmEjiu9O67YT8lgwXyM4BUltIzjopDlbPhNgGkL9O1i6ZdYsf7tR4Y7QLvN+flHkUPBFo3h4Q7TbsL1xs9w81DF7ktUYKQfsP15y3P72/cbo/v8HqzxikQW9IeAIKo10/PL/Qmpd1jrOzl+X17w3sirVPaZifSw7XnYVr6mq1dJIvw1Rl3utK205XGu3qn6nrbqkLIrn1L6Ooaa637oLqxo2+Rjabd2w+9bDWu4bAiSkdnwNrAjkf5+3DhePSBXO3aQtamHZW83Xy8rd0hrQcKb87Ww6sPFepI4CJErTMn3WWeNuIaXb3+MRcju9KtE8DshBfcer5F2fCiOA2hP4Vaj7mECo10I/1Hibvn8UQ8YyyeAHECwSUi4lToGnEXkH8jYenLGMzF0BYxWmIpQ6ATJxKnVNTvdvbuFyYQ6poK150l0G14aRyGLReSkUWV080uVNFgKILkd6/56VZgdEQRVGWm2eBQLPoE0KErApMyE86hSuMXQCP6lkK70NrL9sObztW3gHEgtfgh2eO+fheurwkczDOO74rTI57l24lGj788tE68cruryi0bGw9s88EknjrzFJZm19Oyf/20Lht7YrijHz0P84CRvy92fWvPNGxT7IaW0J2u4YO7OkYHCRI49A3a+j6cAHrA6HP07z7IIivlaCB9E9t8rL/20HkPSoc13B8Qo3RYPySG33bU42c6HrdjwqlFzz5emHTrqGw9HhKqdeWKzBO1rW6UtcTRoeLhmSTj8tR+AtvpMz+Cl6p1AtgXZmSHEA+MNtVtmkc6R88JqzUQEleEaY8ozdGdsqhXc3PgXZACJdjpJCV0peF5D424DQS0YBAHTwhlS/HiCu3uIhlcKCN76ja9qg0W/7rF2N3On3zEzS8dx+CUzqEILpFKBAxeVDAbsmQ4GLbjQu7tPoFAzcnADAvbH2UiTK6HnPlbwN2EDYY0v8EsaNYvgCDf0UL7rG57pzcOnnbPyRv5dj9wat0cEu40/TGMBHDIHswzjpY4/1Db9ptiP97rY4vWSXS93eFly/kLIFP+EUCv9jqlD9QdjWj5nwlyC5uWDbo5Acwno21rPWIs17e21KcYmW2vA3JyLzTu9Kt3dQTXAypLh77XNZZakb7GVijkvpEEUVrUHKO+e3U6/7IfeqBhDQ8nXYfH49LAlvdy7Xj04e9dx1oOk1EQzZymo/I1p6VQLI5ouz4IWc3VQ0Vo7XOlp30qp2TTuRrSNgFsm8vIhsFh323ViREwgilTTOTPoT+jo5tDOk79GYu/Sfv4/shix7YV/CNdW2uW/27CIi+N4Cx3Sku/Uz8ew2MOv+3ZdBDCikBTZtOkA6HAAlkosYsrrnATdolBMthiGSDYbLkV7TAlGLJ6YTnanOU/gThwXF7Axe0w0w34BRB0dvfa3xRWkmOjXZTtvR89YFoH9I5Q7+ZB6W8hSe/QoN2F6+2n+eYxLVEGomMZnrgs/7fg8YuveusEoekO7xvPtiI//lOinu/rnd6Yn+iQ2kJuLHsf+zIdypty27L+GcBhaw9Eu2ehNgGsJ2/LsKL9wY7ppDvEaD6ghNa+D9e4RfEZQKl13yhnhbbdaeFM63xMY6859LZdBDo6A9YGeIT8muOxR+kJ4PCfQIL4qKxvC+X2WQ+U/ZxU0rVom5Ccy7vTaN2Q1JHARYKWk7boHRUNE8A2NCM7ZXkr+pl1hU7LMODr4tT9il+gbHrQqsK9LL2UTkt4KilCKmsAdkHqjLiapWzFMnJIS5obJOZgeClntBSli8jiLpRBLkOQwUyoWMRpiZ7Ia0kvUnrHk3uf/of7uAHG/CJggcqxU8wA0mCaYsjMoVbH4BIrLtX9DZpXvKtyOqdMDKEiiCsAfwKYQpC84MqY68EFBDLxCyAo3+vqz6js3zq1WyLmFziMWmlOhto9SmeQftgd3Fl3kuLrj2G0522JScNdsU9846PpS6kGtOdhhkCbEaxBVA8fORKyRaDo4rKlWGS6o/d3CxFbbrR49HV9azfCMNW0oepOx6DaA6XaTuNdHS1SnAQdHlCtbxxQ19YY5L5RTQBPaNrE/dDL0S9riODaHtGjM2BrYPO//gDw5Hg0etWhrmNZVihJF2T5bzlQ0DFWad+dke2XEj1PNHNwDnurA5rXQegxLjvWfJsAbmfknRWuE8AkSUKAL1E2eB3tzb6ll6Clt8BLWGhxQQjuxX8ZYVF/fLHZT4qr6xTNTumVff4ptCzzbAivG55UUwN4CCTOSBi778kcELc8SN4F3axgwSrdDQ4VkJyUITpaV2BI4ggEbH5DBc0lYRUciqzBNVKIsquf0v4TiBuCbgxAilPSTUPWL4BOcSHtL7URbd9beMhjopX6rXIN0z2qLTCf5Qwkd8V+V0LXIgdPD7Ylenx4RPPyn21GQTe84cY0tLevQfnZoLfv/hCwlQdRxR9btlC/EfrUss+RfOZzeWv7poW4r7Ts9KC+0z04r8BA3nf7TbeTA0pefA5rvM4KfcrbJ4D2D1EgSRkJ6ZtY9qYU9UMPDYWmNZx+e0/p6AxY96m9tG4PqXJ5L/sCdXBD11iX/XCxoFHLBOVRef1AUYqlNdoPFav5Y4eKExY4/Qgg6J88pHUCuGxFITygHCaA1MspoY7lT6al9xM5p5sFB0TteDHAuyAFSrBTVkK+gfZWN/rJhWXdgpkWVwnVkB5IWlyh3V0kgwtlJGuu0itKO0nDG20jbdbuear9Bmi+qRUk5iKTNQdp0aGkEEuzaWZciEApM44I9JLyzAYKWIpgi/Rfqi5EoJRw/wxg2AxwqBTzIq6ClwngZ1wI+631M46AdiX/MW4d/QV+fUysvXlYTzRO3qRqpIt8aXfhGx/Empco3YgMi2wrU+/P9c3hwb29Tviw+TABVIiNpMtr70w68UOV1yx7/Pxinw7hAe2yUEwAr27tY1p2uq/kwU6/cFePraQ0HVDrEyPve1tj6WdZ4/EtYJrKSAayUd9GtkNfdegdbON2PPJ7oss+tQUeHBN9vT14eHLJ2o1jsZXu5zTIv1il26U1rAEstG7BcNSuh4qwRPujzcNDhXrFMlic2nPPn9riqmMpXyeAa8uYjh8+AUzCsnMcKUe0lN0UpyF0nfbGi+uUUU+wD0Hw30Gx2BzKLq+ni42W7uGmLLRH/huoj+dsCFx5Lk6FgvYIk2TtZuf3vjTn4io4Q2Y7DgMIyUzi4g42bKqwWcZNmWVUuDlsmsMKTPniUg4WceVu/A4gpFSzjAKneCi4jFm/ACbdf3j/od0McPOSPd9vRvbVu5fn9+12/WtMC5fP3Wjxy9MHO7haN/5RNaGnzz893t3df/ny7kN0sjwB9Oh4F9aepyUiuz+iObjfvbSu/ca0PiKyW1tuSThobuVCw2+8fEBPJleXbb1tY9egu0F3n7b/GxbvwR1t7ceffly2diNrq3rZ6bhP9p2O99+0xbZjJLhIkuDLfQu5HyRrvG7k8S3gm8+ylPom1h26Pnz2woN5y7SLRNosTTe9HY/aYlvgeExslbJAW97rDvWk4fmZNvIu2wrXZpMD5bMcKPfTgeItg4bduf7eUe7OeSYttPQJQrDPYD/2Ln6m0e0TwPVDgCheJ4C5bAGQV9Fr65WGxXzDkm/QvJALxA2HToiQyhqAXZBK4vhNyspslZE1BNmJ40c11wk9LB1mZHEXyiCXIcgg9UooYnktLa2O+/GYG/wEoN7x7O63KAeJwWXcKa8sGMqdYAh5CyzknpvV9kQ3jB2ksKpYmoSORx86hCCkczP6JRAPeKjnA4Ranc0ra8YvgGcUc5Q+L3y8f/jwcXlp7e9GKvVr7udPv8j12hL9HnXnF+5+o9AbkHTTbim/aMT6Prh5LEv8pyzxZ0ssT1ws1kJ5g+9rmH0P7fVUiG8C6x1cCVqoP5xQahORbdnW8DXLPn4vLCinQ8vWxjZctzaiKUZu+7Ae79+9G3e60dFdvREtYun7y9y3VV9aY/TrvpEfSLFAI/gkfRNjZ64TQNTOazjuonXC8uMvcjz6XlkXKItsISxPDrG+gWqTDifX2LX3A7pxVF48LYWoT6Hy+mjnQ0WqrcGwIXu3G/UnwzKh7hPOu+h5mgAuVzmtFVongCNNo8KiFvlzaen8RJiWyF5wSqhFo9e0+1Pomxd41vBmp1kgANIpw1Py30XjQP7E0eXqRp9uzeCWp18GxhSwGMIYUpZzjoq3YMriqDAeCzKYhqWFmrMIZ5dY2EURDC4VvIJFRJk2p30JpLhM2AxUlEIJyRr0C+AJ1f8H8cAh8Q9y9cszCJl+95J55NPTu37viJfz613Yab15+PE5L1GTw2ORfmfCG0gf14dKFhXq7fH4r9iLiPaN2j4CdnHZWK1h7EtwpJwALg8/7j8cbu0i36BGNw8QfxSsdGkCSHStb6HlIexI438CoSmODBGy0bSJ28H0bW8BH58BwwL7MWHz3qeP66zXKpUOD/Xx84i+2idHpaYvnpaxAWFTKxh/pI8pPzdydA6bRm8sFuxbSFetj85fh0j5NgFcDx8vHSaAuTwQ42uEDq6L0xD686kvhD3IQhHhJPAuSIES7JSVkCTHmRglSq5SlvYeGn4tZVfcw+IK7e4iGVwoI1njhuWQlrpz6S2SGAuxa+91OWP259NBiKs0wQxSQgGku9hyI+awxVilSbgoMKRsSzKzIbuo5rRE4PBD3GdegSObAFogQ6nMnpt0GDP0C+AJ5cdr+ptaA9n7nEKmh7uB/t97oX4pH+idHGlaOE0ApYejpwfjEpXWO7RUrx8gu7trvYLi+O/tcReTbeeHvz4CFG1RqVfptyb/J8tJy6exjpYtJH2tY7ch3doRcgPHSIRubu0P/gBzJ+vj1rJ8pyoNd/VdjNy7ekBdWmOvfP1bwMvutUVOh57QsoZYjXXSFWM+OgOmJ9LLMfHj6fH4ikOdaTwqo8dLp6VXUiOi24dK7c55Jn1G/YS1KVx/Jlhry8PwYH/66W9pDBPAkWTQLDOd5U5oaPbKbtAD99Pd7t2gi2X/VsoVgrg6oqNkNC4AgrsE/400D4NHCflrqZZhdz3706eAxWwWKbuadMJ2E5YZqiBXdUvQVbjuBENKmQ2GULBwKcbNFiaTkKX8xDD6FrAHIKs/e3uQUeHbTwD5fZ/zewQeKMTBuN5uhOK95OHexpQfmH/NYxihwyVOj0VuPa1QsqmerM92V9U37XTz+Ymw0fqBe3/kEOeRR08p+p3GfjB6fmBUH/e7ubUP5n8ZvbLTQa++q7+i75trjP8EIuK+EQ5exIvgp/TdKwGh6689hsPDSl9xPGq1e6cUx+OrDnWsj9LJUWl09bQMQrvq/+ru1BbDhuSOVnrp1ym/JvVpnX0WUsPDBLCvOmLbBDAHIAACvFKmWf5kWno/kT+Pps4ydr4wpLIGYBekkjjeMzOdVWRfKQgyZfwqoQEL0RJLF5HFXSiDXIYgg5kOEof1R8QNBEMYww2j1N/9YuHIypBeFlGDxaHMsgkL1Zwy6RQic1BG1hVi4TVlNgNLckiXY8qMi7l7vFnh/i3glkqG7N6KCGbYL4DH1GY4Z1f4uJ84DY8D4lni8tJ9oZrprXdhPxLXm0ccoPMSJTvcoW8+rVCKCWu/q8pGsyi2n7J/CJBOlOVeqg0oe2nZqJ+eFklm2g8/8r7E8zDr49bWxujlj4XpdKdjW6DFOD1aqXd+4YBCg4trLOS+ET8BxIr1xRstu9e2x/LaI1qNazgdXkqHZ0BvIAucizfyY0LooOvjbwFby+GodLL0hdMyeupU0fNDxc8TpflQQUe7LPsop2v9PfJ7q+wbJzaBu0a6JlrKg6Xd9gcIo70uTmuoMq+k6sKo9YNcyiFdKvqTKRbFy97FKwaaowdUnXXA8f8hZON5xaByLa7IJeI6OX3tZud3PvxPkEV8VrGIRxe3IUgGE7AEQ0qRNbiEF3eRzJcyCdSz3S9ni8IsYYPFZZrDUfwv4J5dsNkMDbg5HqiQXwCNpqcsmATlcbB/kjyIH9dY/f65/Zwivt9zSTSPfM1jGKWjJW53RR3ecjd0euDaj77ea3vbcPYzSIatplO/QddbiE6Xlo1h7o90jPZVfXw/ToeELm7tRlhxNxd3+rZjpPUuHBe6ekA93Vrjw88AYjknNE2a9kPPuhnXcN1FucCj47E30HL5m4+J9jG8eAEldK1rGotS/5gfjkouuHygSCO0a90r/YFD5YSWzwrkdlg+4Oov2NYJoPbN2yVWZZgA5oqBAiOcMtNh4oSG/l7bDboYOgId5jKRgiCTuZkUAt4FKVCCnbISwnTS6gYdtUQcS4K8kuYWe2+LK7S7i2RwoYysKVRDFjflG2hvO/djRXKrwxzQpw5+H0wmWPOL9Lpx1Iq2PEFOpCzKbBpymgoYDGEFXmFJuMWQUh26Aqew2xkSuL8FHNF0w3bjuHspHGmfAbx7v04B6Xdd/Mg4uEn41wb5aGr3UKP7yh4+KrCLuHezPIYJWm8eQuh2XKLQPIka7rg/vm93j3h+tM4Q9DTQxza2BWuFhXzgyzuWfmNC0vJtRKDP15bt1H8tRUiG/uJQyf8XsNPx1p5mr07Uw+lOR53qYcfcpgt9G91cY6sWcd/ItyJ1szhKfRPjKdX1Q2/cRVjG0RmwLNBqrx6PPvqjQ/3gcAG1V3v5fJs3yNGB8mufvjFla1/no90ZT/9gDs/hkfraxqkh1LfZI5axTgCVeGIaK37pCeA0Kont8j+H/gcOaabXDTTqshXkFcQNEnNQCG5E0kv576Na2F+y2ONOsaKQoc6mDjH520w5S8AUJQuTE7bj1WlgwSwZZAUejcOGygnAMUjZNBUvlVL+ogJyuL4FnIBxgrDlpjCHSugXQCO5srYbyE/3611YaftyotwhH555JuENtumk30g1/fRhvFF84m76df+TtrOe15tHje9giQd3xYdlCL/aowHuwmr3Rzyy3fKFEF4Y2SBqHP3mYp/H46TQxWWPk1fravm/+Dqz4H1pvzsXcrK1s2aRlc53ujcY7uo7cefAQ993D/a+qJEP6GVf4zbZu/UWMLrBEhOb9E2Miv3QMxrXcH59oXTxePTerx4TVr5NtKzrk28Bays+Km3T+JKVAP92dKAYVU/uTXSwO606m1w6VJL6nq/BrPPgf1pimgDyhwDV18brBDAHJwACSnCBsulFceoh9m4K0xZpHrIpGyF2ULIFGiGVNQC7IHVIXLpLlAzEZSmIfzPdbMsLEkoXkcVdKINchmACp+YY7REnNL0onQ7CRfHsT3mbA4Z1xaZQuOFZBE54Ge64uIOwwQwWoXQgsj3hOL2GSgVMQ3BRrcScFPd7UCRVPAGshOM0Cza7I4j7wSJ+ATTSe8JT/sLur5/i6rkeGR/o38nLnede6/At2IW+8JX7x1/oLSyhpy/tbvXT46eel8v73ee7H42F8IRD6ZO6QR6LEe5LlMSXO+0C8llWGqVCH6v610/+kONjVAr5gKx9sKysPwG0TShp6E5Pn6ObH+/mpycHy06y959feNl3uuygl+eH3HyPX5BAQ6N6aOU0bm17jjmSbU4bQND7YadX1mjcMVdo6nvtXAIPucnO1th9o/rg6AnF4WHKN/F7j6ng0LN+ljWUmAgfXj/Gky7op/EMuJfGvrhcoFE/JrBv+jFRNHctY0HHKvQFbdATujE6eqZ3eFoufRnlurbkdH0g0tr1UOGONvngdUKyVjocCYO+aKTIlvROv1fvpAErFoyNUheSjxERWobolIuJkVRkpbPcCX1js1cQlvBtC/lrhraPaHGPaKq51Q5dQ0ALBiGY7iHdrvhzCMs5XBrGushraWwyBClEs0DllLKbWwHyIcxlCnEIUjaYpWzmFuim+yywgdMg7G6pFiPIik04pmYQDBHOzwAu4ooxRRwVl1mQX6WN/Kb9/uHh/uODXxL5gGD84eHhi1RFmZNUoChKnx6ks3tRWWeZ7Em6+Xh/0s9OR/GgfYmdvH1287eH/++4eCbZbNpc/mwTyvwvehMLGWnL/u3hZKAHxJ3Lmn650D6bDFubu5uJKmynryP2/NCRhHbhONPU9151usZ7OajHx5JGhxUXmsaRkXTreHTKJh/05EPxtLizrqf6OdhIKtaig9OSaO62ouvutBdNjv9S+kMLkca326NokX8b7YPYIwfEhaiF7pRJIeBdkAIl2Okk9RrCMiHH9CcsjBcEoXDS4grt7iIZXGiPKKE05c+lG316Tk9f3PXEQAL6bCIYUmp1DILLkE0pW8wAQgEOBdphuBFlJ02wCgxF0nfT8spNNZuJBCnFkMD1BLBziqgAaRKmlKWgej73Mzp4anP1mLtdd6ni6uKCvqHJdZp6jphuPnsOeHPxJ0M8egR3RjeX9zrC6FiuE4pf1YToWrvXjunfSjbROd6pw4q8evVevTGwhKEZR4d0kSdRH5Ww4RVgqi3hM8Cxyug4s5AVnnZ1k86bom/UJLhC2fCiOM3RP5mWhYjM1CsOy76VuENaDntH4kUrDaGgJVXdEOagENwlyHQU/7MoF216WtrBCNDwungbEEcTw11Jb3r6j0AwmfBZBZTpHmPPbIZS3E9c3i6wBlqNOxUL7iY4xZ2KlevWvYqnimiH5jEzIGuw2IWwe/YZwFHAI4AM0FXx9ARwpvloGOli6Va2BvZ+TnuekhI7CP8xwqNwnwM6cad/eAFKJ52MqSUoLiS8ncagUDY9Kvh2Wno8XsYa3st65HY3At0DSgEtbqfIZBFLkU1yDnJOLTYVNOoFN8tBUpbyCjqo9jBnz/ptuXSwYYK29mcdvoKmbiR2EF7o2hgOq6417yRthmaIXhSmPTLXzXRadN4JUlkDsMsfJPQw95PLSPmraVlQuogs7kIZ5LIM/jfR5eVpYX/vF7c+SM4pDlQ5FXCHk6YIuFmZQeLyTPVQZcxm4ASQzWjYjLpJ50gaTOMwpdlMC/uXQII7TFy+Ox5YYCizMD73M9omgMtR+Yoj9KgUPUIOiXJU6fas4SU662cKnixQJ3+yEe3k8NBO0V5sykRLeKy62RoFSxnjoKXkhI4rETa9Fx20UUIxFxwUL1U3aauH18O9wqgXuLsEz+h11UZr/dgeEaT2bKesWgpvtVvb3K4nQnF0ENb1ZcpydLCIJ0AJBkLurOKEsjG3T4x4uOmx/M+hi6Oasuct/jChe4yMF/XaxWYP3nBsj2DWZc2CQQima5Qxlr+WcgG1pFxyylHw22hp3rvqSXtzIz78HhOIAM2WG1xqzQXuMA1Lhhtyx0FKOc0tGBGS4FAqhs0v1GXmlGZbhoUZAoS3gFMqTU543RoEl6qMa5/7GR0/AcyjoB8RREi0dHOUundAUcTFW0MJ7BKZgbYyoxu17iRlIoOyAblgzRPc6DDRycumni72ADopRt+LfBvtPXAEckyZnAotwIkAiGVYiDHRQfgmLb3/MUJPrb+j/g8XigaH6SMa2ryiG6tDfTS50ZTKAOMt4J4Ir8BKSHDdIisNoYW8Ym5+RrfK0eN1cZqjl+h6O66M4i2w0JJMdxGkQAleR9nXibjqNIT+SqLBOC2u0O4uksEbdLsiCf29SlxdJPsQoE0a2jSibDCkFMHmkJcmGMLZZh2nF4ic8DhcqjlgluJQZlcc3LJrSQdhjxhCqD0BhHSPfpgmwwTDLWUgW/ncz+jyW8A3jpuLh5WU7QICSNfJ/TUctMclAlnoqIdOVbV3EmeCviIy7fGg7p9niySekrQXZySA2a1OAhBQuhlpsNPVysMOlMYkBwVDispJ1PJC2aQn2MuSLeyGJWgLCKWXyV2IlgzkFWTVrRW1b/FTQmXWj63WYFYnIbLHhSiyJffqna7U7HTUSuKeWiuQ2QWphTKylGX8jK7WLfSNzQ5o6w2BLey0BOFm/ZJ9DXEfLEglcfw6zfXZVwqCTBkX4poMCsHlyF9KubhcKIOZDhN/gLDUXHBiI4L6zMP+fB4R4g6BUmDIHm8Z8lowA6sNJ7w0a8IUc0Ugqxd2TSZgEfX/t3c/PZbc9rmAL2BA8OLus9TKdz9eaGMhwEBA4AkirwwYkZCFvv+XuFXFIotkVZ1zuqfHSvI+T3GK5I9/Tkszgd/0jKQ2aBvqMw7q65hsg/1HXdqGW/d/jsrSTju2wvqjVeqrDlutlPbhXhv/3bAlAI4/8+MvhcGxdLXj+lQ5U9rb7Acen3vl1uGi4cAyubjgorT/Sdjte+JlfqGu7P3StVb0077eXFZOxaFQNlxtm7ywZXfsHM4Mk2m2mqZPPdx/u/jkUy6Wr04stScXPVbOP79i27Fvm8704+ZcGWrDcrmgtLNWvNjTz9tyq9zZNoy7+mP7YJ4fusIyrLMynNr+embYVE++5E2b991T+2DT7Q/at9Rd//jDytLjPQ+991w5+O7Tj5S/mnOrpkKblso0nVwWr/UXlXblpvyC+zsX/WL5nkd5r//zd0SJ8tTX1p9K23BY7MvHrLSr19b34+01Pkd3jFo3922hDWo/d3Wlb62+P0d97Lvh/pqmbdYq/erxHcDWTpP6X5wr7SjX4fHaB8fo9juA0y+LMi7FNi72QVtrC9Osqz9wHCldme+lQyv3rWiDtzmOdfeNd7WFtW3Jb/2/hrK26Jff5sGBbeni2nm+OVeK0+ZuVtamdhgm1Vi83FKV+/rWFyd75Vjrd5Vxm84L3bCbFWN5dq6P+7vhpYeLq/OGp0cGz76AxYP1+6U3fBXlS2htclk818q2q52b24WiLLc7+ja4KJ1tO8rOYfM0b+NSn1bP+m2vtN1UXdobnI9N012rtjZXy/SrPbijfUhpo1Z+3Iatj5TltrXtnsZFKbbpP8Hlx7XKNrj/csrh1q5qr7QLXfViuPzvXUmA659/P54uUXT9xfBucZsdz9Vr64ZJV6mzY3I89119DZNzeejrU9ox6matG/s6rM/VqxvUNvy3gI+FY7S2rjItTa+t78d3/92Er9X/6lrG/bRTVvq2O0ajrX632JSr7lrdUidd9c6DLdOfa6rqfO6LiwObUm/tTr9Uxpf7S/Fcf8HV0WFWJ6XvZq2V6YuOnVejybJwtXazfyzvs3JFac25Ms+ealf07Vi41C+VcWulUrVaP+yKh1KclqbprpWulkvtVB5KbVgH84l5vrrZe9r3BtvZ+YJy/7lduqu/6D3HH3w1H6Fcf/shr310f7yMz60svdubzvabj/EymtrXeXTBdP/5487TqX2V8/l339gOli/r8T3lDzut3/urvxG8tq07AkUfLs5Pafu49kO3D6ZXt9wmx6s8x2sfTG3oW9daK3fDvZuXSjtN9kHXd9U2aK1/lae0o9+e8g+B1OI23Kfds7728TA6pturPKVtoyXH79lvswXA/tdB/8uiFRetsg36lYfKgdae6va8cuLttw4ujz+6sPz/QuufAtwLo3r09orygQ8+YV662frghl75rLq5Gz7xrkP3+gv6++4v7ncNuoVpw/X+4tHaqN+5jC/bmxxH3nryONCdfPWSft8yLm2fTNryeWnyZMO23O05DcdCm5Xxue1rl871u52XTpuXQmlt3GmLU/tI09UP2uiq9rpytNzR2lu0E+301MpS04pf49EN01r/eW3cFxfdtAzP7QO0W/p7S7ENVsfon6j7CoYvptizQ3lq9GvTOqrj0ob+mIzd2o5Zeeqrb63ehmur41po0zaYxsdkqnbDo6+jfbIXTpO92we17+rHc7z2QWvHs7bTdwDHbX07z7dX3w2Trduz3+ZrvgNYfqm0NpTqbHKurOqR69Vd2TS11x2bT8fabaUNjoXl79z2HwE+FvautVro+3FxcFdfjcdKP9Z2rTgtTdN+VpbOrWrDrtbGpR9nTVuc2llX3Id1Z+17tXBaWJT93Y4ybOUynVwt9YXT4qSsP9o1L9R5f6YfN93G3uXGvvWm6aEtnM8UQ7Fsam1XRl3pWHrBB27uV1/5Wpa11mqhvGvhfcoFr7fddfUl9+fmQr+ztHl2odYfbFk8WHpqP1s+4JU2DDfHqHNZfNErZ8tX0Ha2aalM0/doJ/u7SvFcmUsvtqPfdeNjWPeUb3ksz5YDt2GZH6N+cDytDaVuuPdt0NVOz9G11i10/fW0jY/ZMSlP37V2Ven6/XU56/rW9tcxPZ69ldnVnwGsr62fyvNTX1vfb9xeH/BnAFfDZHOuXCrX9W0yFC93zMqmB61og6F6paxfbOn/HODDG1bDhuv7ar21UulN08W58szbT1wYL3njlcv20ppufHfXdOLwlmpxs1Y+4dHBs2l3u6Jvx0Jvmt7ptvV37IMXL6lnH22/XH54bCrX6XCgTMq8W6j9MRiW75VNUyvGaelbbWqTc6Vo9buDhyfLd955rLo8291Zhl3hiRe3XWlHH9xRlpZ3ac2DI489P9g+rG2dxkUptukjL20atMtba8VJqxxL501nr+x5o9sr19/w2rNDfY3DrtRafVq7miyvfbIXjtFRqN281L+O8da3Uu37pb1rk77tr6vKNlx/tMrUjlIbt0Fprdq3/bV2+3D9DmBbLCu1a+2odMPa9lc3qKPtty7/X+f/rj/By8/82349vf4rtFzd2lPHnuHA3dFh0yvG3ZfHH1+4/U2s/yTwvLXOH1+xer5jdN6/VO6KXf3R7KQtH/vKaJ+Uvk7arLVam10Wi5uldt9iH5SuW+iGk7k8nrg8NG6pymxq7zCf6i8q49aKbdBmh1o6Ly2V1sr0ZKu1HW/XzvUXTJfd3H0qL4Wbrc22/mzTV2rXl6/n+tPa2tQ+2HT7XZv0xfPqM/cn+ksv2+9q+/z+qymtrrxXf1ff6mLTlXfT9P0uL/qw2zvlr6He3H1CV11Gy//YleTQR4uxH4fbrHXH0w9KW19ToTzltU/6pxueD3SVadxv6EZ712ptsHdt2NrxlDY/pZ378pQ2lNbn9Or+PYClHf0+7mb9Wh3Nk63fuvIbmY+Un/2yp9/ZKkexTFqbZ1euFp4c+QjD/XX0wieWc3vb//at5dJt+i37/OiHlVU/G1d2W6WszOsXpXunnd2srJ3b7KK0u1956vrTrqvNeaFVbk62clvpt0xLJw8XF+38za6uXIc3O0+u9i21vvzqVdV0fNWXyri1aiovrXeunAt13ur10LSxlKf2xLSpju8PlgOtPfJ8R6fd+GLbTdWlfQPTJ5R2YdqxtBeUXW17GZxbWWq6ehu+qb1Rf6iN++KiTPvK2ePVot1zubkV+22lWAdldqNsau1UeL3NutI4rLP9f/m2/9FraaIbDMP1qa/tR21HX5/SxqdW6mvrj1E3HCbXfTfbX/1aV6rFoe9fx0JXqsUy3N57sXW1P55+sLZuvL8+b/8ewFrchvUprR/Pw5uuDcvP6KXuZ/wFr2x9w3Wbun/4Suqk9FMrpuK5Vd2w0++sO7rhaPl7uH8H8Hp9cbnQH7g9eaU/2PRX9W1SK6U/r1+62/b8ePuYqfXF3j4dqv2ufrwaJmdl+5NNj0xHb2569QPa19IOlMo0fWjcMuwuS631ynRamva8T39hZyiXyWnbqbC42rc76mXT1K7clK+1a6b7TpecCp1Ha3emz3uzcr614hi3hX1+Nu243LcV25b/Vh59VWWh7Hi0772ma9u0VT5Gf29pH+t85zYttXmlxYY9QGzv+oxdfUpbX3W8T4+u9se4tjo6nqNt0311H1/Nryb1tfXlOcbHqz71tfXd2traYOqPSV/bB60Nw7Y8dNt3APfZPiytK1w9Y9fP62R7bT+vz7VfDqWV8dA/0u3t22Wl11Uu1z/Gw3sfLM7fARy33h88r7TKMujbnQdLvWf3PLqmW6t3lL7O+lE//Bov3LFtufjYbrjohsO431dG/Wqr1GI3fFE739pefVF/spxqgwu3C68oFx9XDJPqsjhq6/Pe08FnNz30/HD5/G1f29xqfXuH7mC7Zmof6SOu++AvqWh/tVMrS0UbnLWdpX2Ut13Vf3Y/6Otd4dyemzb1h0trxclQOS8Xd/WvUb6aq5vPtRIDl//VGwJFa8ur+1Ge4zXPt1d5Ltry42KlPrUrw9LqUytl0rXj1bfud5+PV2v7a6iU6T7Z5+U5XltXJ+fX1tdnHtTR9mcAj2ntu+LU9rWx6/puVv/02qD/dVDGF5sutL3n9rrTqbec7o49UrbtO+uBoTg6bdnb9rev/LPAy/RSqR9HaqWYptfasZvdpXazeNa278rBc6uLL+h2teOl1q0c+mLbPO0ci+f1yePVK09PXG8oX0nfpuKFvrqPx73j7E7bUrZP00nbU5b6Da14uCjNypapXXpW746WYWvFVCxtd4xGw6bD3fZ9f99quejLbbBog3tl++ttd1Wdapdtclls2qm+dcqsXyztn2D6xNdbM9WXVoq9Vv9K0z0fde3gbTeWL+F97VZbm7au/4tXuqUdgaIbr++9Or3Kc37V4fSsr21U+/qcB+VprX7+8YxdfUqrfTfbX+XphuUpbdw4dtugtFadXlvX2tG3bh2MfwawDdq4PKVto/Le56dhfbbXKQBO00G/VsZ7Zekendtc7nl6qji2lVtePPZcu6i/sX1Gac8sfw/30Wo49sLpVdl2HOtc3FBLd/v71pwr8+xC2XC97ah2609vfGw7vrzurhmWukm/fyy3WT8+e7z6fP1t7u65/Iha+agPb24vLF9Ga7V2qW3p9q76+qgVTiuPvXH772H5Et/zVd4d+5q/4npn6Vt7txduKIttVxmcW1lq+vo7vftw++DpK5imrysH2/FpOmnFflsptsGqLfTtXP8q4/nxwunudXHJDcd/BmSLgetTWhsvrzrc+lqs9WNeiv38eErryvU1taNan9JKX8d9t4/q0w2HSWn9uA7bwtGt7ZiN3dAf0/qUVvtuuDzl3wM4VLdhN9lmrbL8OKZtce+Gyf6zemn8dTD/QjjcLrzHfNkxX0bDYplPrZiK5/Yu53P1G+HrdwFLoXRFm1wcrO3dpstfv2rb2W1//eS2t7VjXnXDXamUXX3riy+42HV1cLzv9uqybVvuhnem9au9p1o507dhOLgs3pu3d/MybK1XppdLm1q7WX63dtnNxafazb5mWyybplZdladaaRdKdVpu46NeRuf2+/iIL6I//eyOtndqv6ubL6HUymK/pR/famcu27jlW/mGV5+c/mKuP3z9ntH2XaP2HwMpT2nHuHzvrq+0fpjur/LUV/txlMYN3WwfDKN9Ugd7XybDYmtDPy9ObXjV4daXp7RW2rt+vo/qeJ90g6FW/ksgpbWFY3QeP/lbXPvyrD+X5Sd+/wnfu2v9zmljW7psu3N1mp4Ltf6BuvtrPxQHl8Vm/Tu45egHe+61u9vpUmntotC60bHcKcWr/V2tbZravlbe+/zaw8XHytXzB8zVY9QNVsOkmarXm64sO/v2qjec2XbMm/tJW2vF8u70i+/Qzr50Sd1RNk+t6Ad9vThtO28ZlfWpPXGz6f5gOdC3lzzd19/4SttN1aW906PD7e6pzablpVXd8EJbfbCtLC3v0qpWeGv7au2Or7nyfPA8nVorTmrlvNI5LZar3tf286NSaO++FWt2KO/SynMe75O9sHV7v433VzdcX/ugPOXVD7rlo7uYdLNWOka17Yutq33rusE2Ke/xNQy2yfpjH85LY6mOu0k3XJ7+HwKpr63vR2Vchv1yP+7bVjr/F8zqz2/7ee5/2luxs9eulkbtlgfuNxwr5Z6bnfcrTzw9tW8oH1Da9mcAt++i7ovFsd76o9Yq79aOt6u+4sLHR19b7b6I5dW3Wp5dFnft5DPdxvFMG5Zyt7IYZ9XVzlWtjOtt1tUO58qHuPys5vLLaK1M7+xLbUc501qtvc/p4FWhtceebrjc8fxUp21eBqW18Ste3Da4vb0sPG2PvGFr8dKma19x9KsMf2ll0lqp9Fp90Y9P7leq5zs+RPkqp/axThc+/IT1f/OWDXuG6H8HuHX11YZtsLZ1sA/rq5XGYn2tfRvUbnqVp7T+KW0ql9bNjtL26gbD6HK8D1tfx22llLvWrfXjNjtGy6D9GcDS2tJ5VP7W9u14tVaeY3z1c/3Kr7Buzyvbbzw5Oiwvkxc/qex80B6729yPO/Vb4vP2B8rOtrkM+spb9Vf1rbmrv6Bu78/X2rtdXnN5a1esJ4Z9bVJXL3WLZXi/9ZGrU+da+4RzG421qx2l0srjljLrCg9Nu/tjj694sNoubIPiZvpgy+aqNigbzu1wVe1rpV24rh7qwdJftt/F5dfQj58ad16ee/m+trEMzq0sNa34lb7qnulwHZfyXRt2FG1aKtN00or9tlIs79rdaAceb3vd6bYyvL1+CQ9D+Ov6li6GYe264f7qhkNxfx3T+hyvY2179aV9shfmUp3X4dgN/T7uZsOGbdhqw3BY3oZd39rpVZ7Slmf/p4BbtVs6BuV1DI/aUNqG+2hNLttPZfupH36yp3kZl2Kr9xu6xct2teXCabkbTtq+1t6sO9kNX/bS7rddOWlfVWtHv2qDNzruKKPLtr8eKOs3u9ri1F4xbn7TudP2Np7uKNumnX2rtd40fbN2eXfROHufdun5sml663yyUxan9orTtv7oi3c83djf2bk9Vfb3rRpnw/g15YLX226qLu0bmD6htG7lmXbm3MrqO/UXvbU9UFbPm6fx2WXxn+rxVzCvLvOvaftrdyqc1T/9Xp7S+mixd93g2PJ8/ujVDY/JVNiGF9PytNYVjtI4LE8d920s1elRLfWxtvWtO56r19btk/pbwOt4f+qr67dhfUqbXltfn9LO3wF8/BN/Yzn0rnOrcra1yVx5sHV1uzB6dMVJt7kNa2GtjX8TT+ubvtovtGkrlkprryjbLveX4qneCucTly62zde+eNOm31vuKW0YHqbpatzXDT/W+AHtM9q0VvpCrV26Wpxq7ZbSqn42rkyTa/2WdrwMtnEpbFq1tBe0XdOhl0/3h7pCa0Ub3Bp3lNnzU9XdzqX+0iWv7pvcHisLj9tJV26bWrvTlsqg7W+tll/0YGdZKre+fuEjxy1fd9/bvqZx3/ngeTq1VpwMlfPyP1f/dZZ22L7/N34TcB9c9HVYntaOyfhMr/JcdPV1TKZaK7XWFlrrK6fxMClPHW+v4ymtKz961eFUrq/tXZ6lzf8lkG02TY6ntH00rfdtfc5/BnDT/1T3P/OtuGjFofrYeefrZ7sP/NbKJ7X2qovdb7vgjb7p5Z39Q8rHtXboJv2GUi7vj9LfXN1/Qr+7DY7qPl+dCofL4uD5jgf6w3dfwl257L8/8nD9DR5c8vL9ZWO/vR9XV7XVZbHzbH32fH/5Si72tYVz+338t/giFuWz3/VFfP2X3X1sGbZCLe9afdHvacVDqd61cctH265s97aPae1U/gCnu26uXTdtf/j98/zn//ZBfXX9aVaf4dW3cfk0rLP9Nay1aVc72vKjjruNe9eP69N3tZ+2HKvH+t7XZxwc4zqZXsN4/PcAlnZRKq0VW9daq7W2f/eqb2/TH+hvuWyvuDhyjEZtU2vVVD636qr2Bi+eOm+bPrQM+kpValMblHmrtk2lNadiHbbqZXui7tj6u+3lpr71xWtted9xjEZ9sey53FY9XFy1O0o7OZWvNu27zu20+IJx192xx3eV1XK27ZyPTMvVqXBtOtqmU/2kW3y4b7huanWl9qdqq5V2VVvaXp20yrHpobLt9babqkt7yd2+63q7e2rHWhmcXRYfKvedW1lq6ritv7WNToX3uLr4wnlPOdiOT9NJK/bbWvFwUbootuPva4Nx/mhW/yHgmif219ydJq21amv1KW0orc88rK+tr89lNz711fV1WCt712rdYJ/sbZu2Yl/o29G3tTafXuWpr8vfAl4m5d1e+2D70Wb9a+v20T7bfxYn9ed46fuf7jIuxb5enCvX2vnSTrXZuXS7dXW/8tzdxa1+auufouwKu4vSB/vqu18/XXdenHh+yZu/yOVAaYPLa/p9pzNTYVwcnI5eKrvuN7b1h7sW0+I2nY61aStu7zarxtmm7DntfMELB/rLWyva4M64oT96paz37bFjw7j17uDT+t2Gp95zcDlzfawsPG5nR71tau3Wo7VDf9W5lQ1FG7ziTZvP2qdfKAtlR79vGhel2KZv8u6Dl46rHlz6gZ+3ON1WCtcfsn8DcHtvg8t/GKQr9d0xuRpMW+qrtVZu437WTbZX68anGw6Tvjv/q2iGUT+Zanu9zfeuDfvWF49XN9yeJQDuw9Km5TJs42N+TI7X1vfPe38dLee2o7V/7mrbi0frxzze/vJlz696VfvnaFYXt9Z5WWqtadNWLJVWf6Dtae/zkVIc6+ddj9X97a7Sin585XKxL5YLSnvixa2Xq/VU6VvbzfPqsni//Yk3H7hTLxq+jun2tlbq/WpfbONDq84Lz03nHl7QNvYnbrSNj4zLbfbs7ln7rNLauBvetf/5yl9E/9dU2v76AOWe7uKP8bG3LdpXeNeemHb0J0trxUtDvezrWzFNv1J323Rlt9JZwsP2o6S/0lrAaG15lfc+q8WpP6b1Ka32re2vobJNy3uvnIf1x6kdfT9aBuVdh92sn8yDOqmvrq/D4xm7blhHexv+SyBHvfbbcJ9OgzY8RnW8tCG9VPtPc/vZ7n/yW/FG23vZbswr/ZF9be9O+n39nql+brvr6l35ztMtL9xxo30NU/sI05V3re59rj9V2teY77m+7lhfjbN92lfep7vhdN/NB5Ty1IpzpbqqTZW2Zdp4Pvdm5erTRTflXVt6sKcqW+53PVt/qDvWX3J7W9k0tf31lfobX2m7qbq0F0wnllZ1w06/s29H/27ldLumDM7t2rTpTa13XirvptUX/Z5W3IyzG+VUf/ZceYfjbBm9dFf5zK9pF0p1WNv37n90bHlvT4uAp9c43gZzf5q2dv1Mr27nedDtqT+OxX68z9tg7Vtte+2DYVIqfV+e86u1YX7ecfStW57yHcBtXPvjqa/St0FX2/u5sg3LdwDLT+s62rTBhWnr7qJ0pR1urThXDlPp0dZvpP/Iua1/A/ffBt4da21+Nuyog77yRLevnS3KJa01Y6Vfeafuttv7Srns7Ftf7LTaWD7P58rFkcHt4ulgKbT2RNvRn2nFF7y29+Ub2xcwnSjTaanb0w1HtwvPtA8qg/GevlAH/Y6y3rdSLO/LtjtGg35naY/1G9r46amXrr7wzmM3utvKsG+veHHbV+g/4fWv69ZHfcHlS/mo2xbtwss7W/G8rQ1u9bt/Pz+XbwGuP8YMuPWt24e1H5drf7u0DevTL+yjaVr7ebL/6BeO8V3bd7RxeebB0c1917VJa0dfn264Pq3VPwNY58NiX+4z7vZqXTfcu204fwdw+EU1/SK7/gU3bfqGnn9S2fHal3O98eXjVy4Ot3lZa+01Tza+5areWw/t+8vHtbZrk6P0DZVPqx81fWRX7jaN2tq441Q4uzpw52bp5lApt5U27YvjbB+UUl3Yix+hu/XQin0r+kFf710WP1T5hPo57et46wc/2l8uvWsfb/qAc7vzYOmh+3PtI+9a2VO0wdmDpa9QvoTT3aXQFtv6NJ7slbLpQeucCvP0Rd2pbVjmy3tqo1PhPfrrSyvF2rfaoYsSV0991WHr2nB6ncZ1sg3apCzvw67fhpdd+Xbe8T29fTD089NaK9R+f819ecauGwzD+tRXHV5Ml2f/p4DrtAxam6v9uOvrcJjv38rtbdP5Z3rXl5fx+eTjduG00DYfK8dodFnclBMPWnVdvq5+E+0T2ueUSp22Wd/2haaMj7VOKXb1OmwLT9u++wX9qXqi9oO+OG6vWnVfOEZVmZ7rnbL4dONdfVFOdRvG2eJUeKqcqOeeHr7Z9cq51sq06Yt7vYyO+ceYLhuvb7NaK4U6G4wbz+5XrpXPObdDX5rXHmoHX2y7qVrac9OBpT0ybe3bYFpb2kcbL26zd7SPcL7pgy4+lI/oWytOzpVb3fky/Jp2Z1zqT2x/hKylida2jFH7o7i9hkqr1tfQH083HPZsw7Grr1NfB7W6DVs3L22ztlDaMRn61nX9MW3DNthrF91dW/89gPug3zvOjknXtUlpR1+eiz8AeKH9dD/2dMOq3dXaU+c949k2q4WXvGnzQxefP5ZqP+jWbz1Y7ZceX/ItdX8FN1/E2762cl9pg7dc85a9q2l/+fTWmn58zMbqpNzQt2de2PV4S1l9vOfCtLubttumLU1bmvZM09HV4v3ut6i3tNu6Qt9ulbWbHY8OFs93nC1n3nPsuXJx3x5pOy73PTm8aqf7wbmVpQ/Urt2VeasOa1190Y/fp9wwXdgq0/RNjiOXh/tL33H7ax5+wvpHn9YYcfo+YEkZc9goz/E61rfX3C2DYzS+xq6+hknX9U9p/Y65P57WWn3vuuFpfJS2fny64TJZf7Ta3k3D+qzfAfzf4+fT+6t96GX//Sx/YX1bK220dEe1FTul2NXrcKz+c21fdLEOy7P8VR3Wv8S9dU9nmt5a9u2n925+jg/aJsd4e5rx0+rs4dewLE7tmXnX9jXUL6U+a7tTVh/v+ea2L7O6/Pq38rS2T0sbnv3G0j3xe/518z/Q/+BfMH6tx/jfFAABAHiB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AEQACCMAAgAEEYABAAIIwACAIQRAAEAwgiAAABhBEAAgDACIABAGKOC2C0AAAQ/SURBVAEQACCMAAgAEEYABAAIIwACAIQRAAEAwgiAAABhBEAAgDACIABAGAEQACCMAAgAEEYABAAIIwACAIQRAAEAwgiAAABhBEAAgOK7L1/+uA9//uW7fXTtx9/2wUN3u57d/q0JgABAon98+fLLz/u4+seflh+/bsMffvlh66uff/3U1lZdtPv5v758+VKnx5Z1dBcAy+3Ll/AgRi7ntw/9FgRAACDQX5d49pc5fv3jX/bB4pc/7IPdf/xlHxR9tPt1OfbTj/tk8P1dwFsD4F9++fz5t+lTJtOHfhgBEADI891P5bt/f/zy5cv3n3/4+5/X7h9fvvzbluyW6q9LRPtx6erar1++/LKu/fyfy4lPSwD883Z+swbA3/70+de/fflt3fKP5YZ//XW7aNm1XbJe/eWXn/91Gy+3/9caAP/479vpsmH9Qj798Pcfls/74ed60/qh+20fSwAEAPJ8+rftd3i/++nT8uMvn3/59fOnLz98/m1Jcus37X75tMSyH75bAtpfv69rf1tT37K2Hv7l5zrcLAHwu//8tATAZbxEvvXuZfcaEX/87Q/bJev7l09l/Pnvnz5//2X9zt9f198B3j9lKS7Wbzsu2XC7af1ClmvW2/7jo38nWAAEAPL88d+27i/rt9Z++237Hdnlx/pbwEtu++MvS/WXH378sqhr2x/H+/FPy4+luBzevgP4r+UP8f26lJaTa0Tc6n//9N1/ldGPfy6XfPfr5x9++lTG6+/8bpduJ/vi55+X8vrHA7fAt55fP3S9bf7Dil9LAAQA8vzhpy2BfVq/1fbX79fg1QLgb58//fs2/fE/1i1r/edf/lC/A7ge/OHfT98B3Lotti31v/55fa/fwVsC4PoJnz//9OXLnz6XC9fbtw9c/bZv2D5y+5z1u4BbANy/A7je0X3WxxAAAYBAvy5h7Lu/ld8C/lS/87b+FvCPf9p+Y3j9LeAtJP68/rm8ZW3/DuD6B/f+sfzYvgO42wNg+Q7gn9bf1d02b98BLJd82iJcGe+3L4vLsV//5Sh+/vzDT/+yLZUouX8HsNz2sQRAACDR+vu2P3z+tLyXHLb+a/mWkPeP75fctX7j7suX3/72w+d/WRb/uP1u7fLjx/IPgXz+65cvv/76+DuAn/+2/gbzOvr+t8/fL5d8+u6n7XPWC9f0t92+fVvw12VPLS7v5cv5bfmsEiW3L+SXn5fbPvp3gAVAAIBvbf0XDH567z/K+9eSLz+SAAgA8I398GWxftPvHcrvEX8sARAAIIwACAAQRgAEAAgjAAIAhBEAAQDCCIAAAGEEQACAMAIgAEAYARAAIIwACAAQRgAEAAgjAAIAhBEAAQDCCIAAAGEEQACAMAIgAEAYARAAIIwACAAQRgAEAAgjAAIAhBEAAQDCCIAAAGEEQACAMAIgAEAYARAAIIwACAAQRgAEAIjy+fP/ByumPdofn7UOAAAAAElFTkSuQmC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UR0cuPTkKsQVLLKux1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24_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T.potx" id="{592B45EF-E14F-4C62-92EA-F604BB527C20}" vid="{03DBF430-2699-40D1-A172-F14B9CEB885A}"/>
    </a:ext>
  </a:extLst>
</a:theme>
</file>

<file path=ppt/theme/theme3.xml><?xml version="1.0" encoding="utf-8"?>
<a:theme xmlns:a="http://schemas.openxmlformats.org/drawingml/2006/main" name="21_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T.potx" id="{592B45EF-E14F-4C62-92EA-F604BB527C20}" vid="{03DBF430-2699-40D1-A172-F14B9CEB885A}"/>
    </a:ext>
  </a:extLst>
</a:theme>
</file>

<file path=ppt/theme/theme4.xml><?xml version="1.0" encoding="utf-8"?>
<a:theme xmlns:a="http://schemas.openxmlformats.org/drawingml/2006/main" name="3_Telenet_DAT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lenet_DAT" id="{41923329-1BBD-44FE-A217-CF072336C2E7}" vid="{810FF668-F16F-4B67-87E5-C7724DABEE7E}"/>
    </a:ext>
  </a:extLst>
</a:theme>
</file>

<file path=ppt/theme/theme5.xml><?xml version="1.0" encoding="utf-8"?>
<a:theme xmlns:a="http://schemas.openxmlformats.org/drawingml/2006/main" name="2_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T.potx" id="{592B45EF-E14F-4C62-92EA-F604BB527C20}" vid="{03DBF430-2699-40D1-A172-F14B9CEB885A}"/>
    </a:ext>
  </a:extLst>
</a:theme>
</file>

<file path=ppt/theme/theme6.xml><?xml version="1.0" encoding="utf-8"?>
<a:theme xmlns:a="http://schemas.openxmlformats.org/drawingml/2006/main" name="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3C6F55F5-4E47-47C8-A343-C50BD9B0FE95}" vid="{89418850-F61E-4B7D-AFE4-35411F027DB6}"/>
    </a:ext>
  </a:extLst>
</a:theme>
</file>

<file path=ppt/theme/theme7.xml><?xml version="1.0" encoding="utf-8"?>
<a:theme xmlns:a="http://schemas.openxmlformats.org/drawingml/2006/main" name="23_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T.potx" id="{592B45EF-E14F-4C62-92EA-F604BB527C20}" vid="{03DBF430-2699-40D1-A172-F14B9CEB885A}"/>
    </a:ext>
  </a:extLst>
</a:theme>
</file>

<file path=ppt/theme/theme8.xml><?xml version="1.0" encoding="utf-8"?>
<a:theme xmlns:a="http://schemas.openxmlformats.org/drawingml/2006/main" name="20_Telenet_main">
  <a:themeElements>
    <a:clrScheme name="Telenet - main">
      <a:dk1>
        <a:srgbClr val="291D18"/>
      </a:dk1>
      <a:lt1>
        <a:srgbClr val="FFFFFF"/>
      </a:lt1>
      <a:dk2>
        <a:srgbClr val="FFC421"/>
      </a:dk2>
      <a:lt2>
        <a:srgbClr val="FFF7C7"/>
      </a:lt2>
      <a:accent1>
        <a:srgbClr val="91ABC9"/>
      </a:accent1>
      <a:accent2>
        <a:srgbClr val="F2877A"/>
      </a:accent2>
      <a:accent3>
        <a:srgbClr val="C95942"/>
      </a:accent3>
      <a:accent4>
        <a:srgbClr val="C9A6C7"/>
      </a:accent4>
      <a:accent5>
        <a:srgbClr val="99BD66"/>
      </a:accent5>
      <a:accent6>
        <a:srgbClr val="36BDB0"/>
      </a:accent6>
      <a:hlink>
        <a:srgbClr val="29A8B8"/>
      </a:hlink>
      <a:folHlink>
        <a:srgbClr val="954F72"/>
      </a:folHlink>
    </a:clrScheme>
    <a:fontScheme name="Telenet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T.potx" id="{592B45EF-E14F-4C62-92EA-F604BB527C20}" vid="{03DBF430-2699-40D1-A172-F14B9CEB885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0</TotalTime>
  <Words>310</Words>
  <Application>Microsoft Office PowerPoint</Application>
  <PresentationFormat>Breedbeeld</PresentationFormat>
  <Paragraphs>96</Paragraphs>
  <Slides>14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8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32" baseType="lpstr">
      <vt:lpstr>Aptos</vt:lpstr>
      <vt:lpstr>Aptos Display</vt:lpstr>
      <vt:lpstr>Arial</vt:lpstr>
      <vt:lpstr>Arial Black</vt:lpstr>
      <vt:lpstr>Arial Bold</vt:lpstr>
      <vt:lpstr>Arial Rounded MT Bold</vt:lpstr>
      <vt:lpstr>Calibri</vt:lpstr>
      <vt:lpstr>Gill Sans</vt:lpstr>
      <vt:lpstr>Telenet Albra</vt:lpstr>
      <vt:lpstr>Office Theme</vt:lpstr>
      <vt:lpstr>24_Telenet_main</vt:lpstr>
      <vt:lpstr>21_Telenet_main</vt:lpstr>
      <vt:lpstr>3_Telenet_DAT</vt:lpstr>
      <vt:lpstr>2_Telenet_main</vt:lpstr>
      <vt:lpstr>Telenet_main</vt:lpstr>
      <vt:lpstr>23_Telenet_main</vt:lpstr>
      <vt:lpstr>20_Telenet_main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Engels Kate</dc:creator>
  <cp:lastModifiedBy>Shelly Deracourt</cp:lastModifiedBy>
  <cp:revision>3</cp:revision>
  <dcterms:created xsi:type="dcterms:W3CDTF">2024-11-26T20:10:50Z</dcterms:created>
  <dcterms:modified xsi:type="dcterms:W3CDTF">2024-11-28T07:4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4e385bf-241d-406f-8674-a38a56a9c183_Enabled">
    <vt:lpwstr>true</vt:lpwstr>
  </property>
  <property fmtid="{D5CDD505-2E9C-101B-9397-08002B2CF9AE}" pid="3" name="MSIP_Label_24e385bf-241d-406f-8674-a38a56a9c183_SetDate">
    <vt:lpwstr>2024-11-26T21:08:39Z</vt:lpwstr>
  </property>
  <property fmtid="{D5CDD505-2E9C-101B-9397-08002B2CF9AE}" pid="4" name="MSIP_Label_24e385bf-241d-406f-8674-a38a56a9c183_Method">
    <vt:lpwstr>Privileged</vt:lpwstr>
  </property>
  <property fmtid="{D5CDD505-2E9C-101B-9397-08002B2CF9AE}" pid="5" name="MSIP_Label_24e385bf-241d-406f-8674-a38a56a9c183_Name">
    <vt:lpwstr>Public (temp)</vt:lpwstr>
  </property>
  <property fmtid="{D5CDD505-2E9C-101B-9397-08002B2CF9AE}" pid="6" name="MSIP_Label_24e385bf-241d-406f-8674-a38a56a9c183_SiteId">
    <vt:lpwstr>289a113b-74ef-4240-980d-e2725565ff1e</vt:lpwstr>
  </property>
  <property fmtid="{D5CDD505-2E9C-101B-9397-08002B2CF9AE}" pid="7" name="MSIP_Label_24e385bf-241d-406f-8674-a38a56a9c183_ActionId">
    <vt:lpwstr>40dbb7e7-ff7f-45dd-b4a3-9c9dde555ad6</vt:lpwstr>
  </property>
  <property fmtid="{D5CDD505-2E9C-101B-9397-08002B2CF9AE}" pid="8" name="MSIP_Label_24e385bf-241d-406f-8674-a38a56a9c183_ContentBits">
    <vt:lpwstr>0</vt:lpwstr>
  </property>
</Properties>
</file>